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28"/>
  </p:notesMasterIdLst>
  <p:sldIdLst>
    <p:sldId id="2056" r:id="rId5"/>
    <p:sldId id="2044" r:id="rId6"/>
    <p:sldId id="2058" r:id="rId7"/>
    <p:sldId id="2071" r:id="rId8"/>
    <p:sldId id="2073" r:id="rId9"/>
    <p:sldId id="2059" r:id="rId10"/>
    <p:sldId id="2060" r:id="rId11"/>
    <p:sldId id="2061" r:id="rId12"/>
    <p:sldId id="2062" r:id="rId13"/>
    <p:sldId id="2063" r:id="rId14"/>
    <p:sldId id="2068" r:id="rId15"/>
    <p:sldId id="2069" r:id="rId16"/>
    <p:sldId id="2070" r:id="rId17"/>
    <p:sldId id="2064" r:id="rId18"/>
    <p:sldId id="2072" r:id="rId19"/>
    <p:sldId id="2074" r:id="rId20"/>
    <p:sldId id="2065" r:id="rId21"/>
    <p:sldId id="2076" r:id="rId22"/>
    <p:sldId id="2077" r:id="rId23"/>
    <p:sldId id="2066" r:id="rId24"/>
    <p:sldId id="2075" r:id="rId25"/>
    <p:sldId id="2067" r:id="rId26"/>
    <p:sldId id="2057" r:id="rId27"/>
  </p:sldIdLst>
  <p:sldSz cx="11522075" cy="6484938"/>
  <p:notesSz cx="7315200" cy="12344400"/>
  <p:embeddedFontLst>
    <p:embeddedFont>
      <p:font typeface="Calibri" panose="020F0502020204030204" pitchFamily="34" charset="0"/>
      <p:regular r:id="rId29"/>
      <p:bold r:id="rId30"/>
      <p:italic r:id="rId31"/>
      <p:boldItalic r:id="rId32"/>
    </p:embeddedFont>
    <p:embeddedFont>
      <p:font typeface="FlexoSoft" panose="02000000000000000000" pitchFamily="2" charset="0"/>
      <p:regular r:id="rId33"/>
      <p:bold r:id="rId34"/>
      <p:italic r:id="rId35"/>
      <p:boldItalic r:id="rId36"/>
    </p:embeddedFont>
    <p:embeddedFont>
      <p:font typeface="Montserrat" panose="00000500000000000000" pitchFamily="2" charset="0"/>
      <p:regular r:id="rId37"/>
      <p:bold r:id="rId38"/>
      <p:italic r:id="rId39"/>
      <p:boldItalic r:id="rId40"/>
    </p:embeddedFont>
    <p:embeddedFont>
      <p:font typeface="Montserrat Light" panose="00000400000000000000" pitchFamily="2" charset="0"/>
      <p:regular r:id="rId41"/>
      <p:italic r:id="rId42"/>
    </p:embeddedFont>
    <p:embeddedFont>
      <p:font typeface="Montserrat SemiBold" panose="00000700000000000000" pitchFamily="2" charset="0"/>
      <p:bold r:id="rId43"/>
      <p:boldItalic r:id="rId44"/>
    </p:embeddedFont>
    <p:embeddedFont>
      <p:font typeface="Open Sans" panose="020B0606030504020204" pitchFamily="34" charset="0"/>
      <p:regular r:id="rId45"/>
      <p:bold r:id="rId46"/>
      <p:italic r:id="rId47"/>
      <p:boldItalic r:id="rId48"/>
    </p:embeddedFont>
    <p:embeddedFont>
      <p:font typeface="Wingdings 2" panose="05020102010507070707" pitchFamily="18" charset="2"/>
      <p:regular r:id="rId49"/>
    </p:embeddedFont>
  </p:embeddedFontLst>
  <p:custDataLst>
    <p:tags r:id="rId5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44"/>
            <p14:sldId id="2058"/>
            <p14:sldId id="2071"/>
            <p14:sldId id="2073"/>
            <p14:sldId id="2059"/>
            <p14:sldId id="2060"/>
            <p14:sldId id="2061"/>
            <p14:sldId id="2062"/>
            <p14:sldId id="2063"/>
            <p14:sldId id="2068"/>
            <p14:sldId id="2069"/>
            <p14:sldId id="2070"/>
            <p14:sldId id="2064"/>
            <p14:sldId id="2072"/>
            <p14:sldId id="2074"/>
            <p14:sldId id="2065"/>
            <p14:sldId id="2076"/>
            <p14:sldId id="2077"/>
            <p14:sldId id="2066"/>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2CC40D-97D3-4F7D-9D76-D5107F3005F0}" v="359" dt="2023-06-29T12:55:37.42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94"/>
  </p:normalViewPr>
  <p:slideViewPr>
    <p:cSldViewPr snapToGrid="0">
      <p:cViewPr varScale="1">
        <p:scale>
          <a:sx n="111" d="100"/>
          <a:sy n="111" d="100"/>
        </p:scale>
        <p:origin x="636" y="102"/>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1.fntdata"/><Relationship Id="rId21" Type="http://schemas.openxmlformats.org/officeDocument/2006/relationships/slide" Target="slides/slide17.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font" Target="fonts/font19.fntdata"/><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5.fntdata"/><Relationship Id="rId38" Type="http://schemas.openxmlformats.org/officeDocument/2006/relationships/font" Target="fonts/font10.fntdata"/><Relationship Id="rId46" Type="http://schemas.openxmlformats.org/officeDocument/2006/relationships/font" Target="fonts/font18.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1.fntdata"/><Relationship Id="rId41" Type="http://schemas.openxmlformats.org/officeDocument/2006/relationships/font" Target="fonts/font13.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font" Target="fonts/font17.fntdata"/><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openxmlformats.org/officeDocument/2006/relationships/font" Target="fonts/font8.fntdata"/><Relationship Id="rId49" Type="http://schemas.openxmlformats.org/officeDocument/2006/relationships/font" Target="fonts/font21.fntdata"/><Relationship Id="rId57"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3.fntdata"/><Relationship Id="rId44" Type="http://schemas.openxmlformats.org/officeDocument/2006/relationships/font" Target="fonts/font16.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font" Target="fonts/font20.fntdata"/><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CE9EF5D5-4AF7-4B23-BFFC-0FADDF807824}"/>
    <pc:docChg chg="undo custSel modSld">
      <pc:chgData name="Kümmerle, Markus" userId="edb588ad-b118-44cb-93b6-335b967c9009" providerId="ADAL" clId="{CE9EF5D5-4AF7-4B23-BFFC-0FADDF807824}" dt="2023-04-15T16:50:19.525" v="507" actId="2085"/>
      <pc:docMkLst>
        <pc:docMk/>
      </pc:docMkLst>
      <pc:sldChg chg="modSp mod">
        <pc:chgData name="Kümmerle, Markus" userId="edb588ad-b118-44cb-93b6-335b967c9009" providerId="ADAL" clId="{CE9EF5D5-4AF7-4B23-BFFC-0FADDF807824}" dt="2023-04-15T16:47:24.992" v="484" actId="20577"/>
        <pc:sldMkLst>
          <pc:docMk/>
          <pc:sldMk cId="753175953" sldId="2056"/>
        </pc:sldMkLst>
        <pc:spChg chg="mod">
          <ac:chgData name="Kümmerle, Markus" userId="edb588ad-b118-44cb-93b6-335b967c9009" providerId="ADAL" clId="{CE9EF5D5-4AF7-4B23-BFFC-0FADDF807824}" dt="2023-04-15T16:47:24.992" v="484" actId="20577"/>
          <ac:spMkLst>
            <pc:docMk/>
            <pc:sldMk cId="753175953" sldId="2056"/>
            <ac:spMk id="3" creationId="{403F421F-2D14-EE89-73EB-206BF78C4BA9}"/>
          </ac:spMkLst>
        </pc:spChg>
      </pc:sldChg>
      <pc:sldChg chg="addSp delSp modSp mod">
        <pc:chgData name="Kümmerle, Markus" userId="edb588ad-b118-44cb-93b6-335b967c9009" providerId="ADAL" clId="{CE9EF5D5-4AF7-4B23-BFFC-0FADDF807824}" dt="2023-04-15T16:46:32.499" v="479" actId="164"/>
        <pc:sldMkLst>
          <pc:docMk/>
          <pc:sldMk cId="1331663379" sldId="2065"/>
        </pc:sldMkLst>
        <pc:spChg chg="mod">
          <ac:chgData name="Kümmerle, Markus" userId="edb588ad-b118-44cb-93b6-335b967c9009" providerId="ADAL" clId="{CE9EF5D5-4AF7-4B23-BFFC-0FADDF807824}" dt="2023-04-15T16:42:13.494" v="347" actId="408"/>
          <ac:spMkLst>
            <pc:docMk/>
            <pc:sldMk cId="1331663379" sldId="2065"/>
            <ac:spMk id="26" creationId="{A6DE6F58-E051-0EE5-265F-5CC6BEC29DD3}"/>
          </ac:spMkLst>
        </pc:spChg>
        <pc:spChg chg="mod">
          <ac:chgData name="Kümmerle, Markus" userId="edb588ad-b118-44cb-93b6-335b967c9009" providerId="ADAL" clId="{CE9EF5D5-4AF7-4B23-BFFC-0FADDF807824}" dt="2023-04-15T16:42:13.494" v="347" actId="408"/>
          <ac:spMkLst>
            <pc:docMk/>
            <pc:sldMk cId="1331663379" sldId="2065"/>
            <ac:spMk id="27" creationId="{A2E51628-33E5-30C2-9D29-C3E29D9B5BB9}"/>
          </ac:spMkLst>
        </pc:spChg>
        <pc:spChg chg="mod">
          <ac:chgData name="Kümmerle, Markus" userId="edb588ad-b118-44cb-93b6-335b967c9009" providerId="ADAL" clId="{CE9EF5D5-4AF7-4B23-BFFC-0FADDF807824}" dt="2023-04-15T16:42:13.494" v="347" actId="408"/>
          <ac:spMkLst>
            <pc:docMk/>
            <pc:sldMk cId="1331663379" sldId="2065"/>
            <ac:spMk id="28" creationId="{150C3185-22E1-0DC9-74BB-E90DD3C3A20C}"/>
          </ac:spMkLst>
        </pc:spChg>
        <pc:spChg chg="mod">
          <ac:chgData name="Kümmerle, Markus" userId="edb588ad-b118-44cb-93b6-335b967c9009" providerId="ADAL" clId="{CE9EF5D5-4AF7-4B23-BFFC-0FADDF807824}" dt="2023-04-15T16:42:13.494" v="347" actId="408"/>
          <ac:spMkLst>
            <pc:docMk/>
            <pc:sldMk cId="1331663379" sldId="2065"/>
            <ac:spMk id="29" creationId="{7065B4C3-85B1-1697-939B-3A38F96488B5}"/>
          </ac:spMkLst>
        </pc:spChg>
        <pc:spChg chg="mod">
          <ac:chgData name="Kümmerle, Markus" userId="edb588ad-b118-44cb-93b6-335b967c9009" providerId="ADAL" clId="{CE9EF5D5-4AF7-4B23-BFFC-0FADDF807824}" dt="2023-04-15T16:42:13.494" v="347" actId="408"/>
          <ac:spMkLst>
            <pc:docMk/>
            <pc:sldMk cId="1331663379" sldId="2065"/>
            <ac:spMk id="30" creationId="{92DAE401-2A74-F29A-161B-0A800C531922}"/>
          </ac:spMkLst>
        </pc:spChg>
        <pc:spChg chg="mod">
          <ac:chgData name="Kümmerle, Markus" userId="edb588ad-b118-44cb-93b6-335b967c9009" providerId="ADAL" clId="{CE9EF5D5-4AF7-4B23-BFFC-0FADDF807824}" dt="2023-04-15T16:42:13.494" v="347" actId="408"/>
          <ac:spMkLst>
            <pc:docMk/>
            <pc:sldMk cId="1331663379" sldId="2065"/>
            <ac:spMk id="31" creationId="{582E95C1-5721-89E6-DC8C-1366AF8F12F0}"/>
          </ac:spMkLst>
        </pc:spChg>
        <pc:spChg chg="mod">
          <ac:chgData name="Kümmerle, Markus" userId="edb588ad-b118-44cb-93b6-335b967c9009" providerId="ADAL" clId="{CE9EF5D5-4AF7-4B23-BFFC-0FADDF807824}" dt="2023-04-15T16:42:13.494" v="347" actId="408"/>
          <ac:spMkLst>
            <pc:docMk/>
            <pc:sldMk cId="1331663379" sldId="2065"/>
            <ac:spMk id="32" creationId="{00BAFA0F-4342-8406-29AA-32BE588CADB6}"/>
          </ac:spMkLst>
        </pc:spChg>
        <pc:grpChg chg="del mod">
          <ac:chgData name="Kümmerle, Markus" userId="edb588ad-b118-44cb-93b6-335b967c9009" providerId="ADAL" clId="{CE9EF5D5-4AF7-4B23-BFFC-0FADDF807824}" dt="2023-04-15T16:34:26.027" v="17" actId="165"/>
          <ac:grpSpMkLst>
            <pc:docMk/>
            <pc:sldMk cId="1331663379" sldId="2065"/>
            <ac:grpSpMk id="5" creationId="{A7688E91-DDCB-F23E-0C48-537B787E691C}"/>
          </ac:grpSpMkLst>
        </pc:grpChg>
        <pc:grpChg chg="del">
          <ac:chgData name="Kümmerle, Markus" userId="edb588ad-b118-44cb-93b6-335b967c9009" providerId="ADAL" clId="{CE9EF5D5-4AF7-4B23-BFFC-0FADDF807824}" dt="2023-04-15T16:39:52.743" v="275" actId="165"/>
          <ac:grpSpMkLst>
            <pc:docMk/>
            <pc:sldMk cId="1331663379" sldId="2065"/>
            <ac:grpSpMk id="15" creationId="{336EE815-17BF-2CF7-C3AE-0EECEF762E50}"/>
          </ac:grpSpMkLst>
        </pc:grpChg>
        <pc:grpChg chg="mod topLvl">
          <ac:chgData name="Kümmerle, Markus" userId="edb588ad-b118-44cb-93b6-335b967c9009" providerId="ADAL" clId="{CE9EF5D5-4AF7-4B23-BFFC-0FADDF807824}" dt="2023-04-15T16:42:50.198" v="400" actId="164"/>
          <ac:grpSpMkLst>
            <pc:docMk/>
            <pc:sldMk cId="1331663379" sldId="2065"/>
            <ac:grpSpMk id="22" creationId="{E2CC1AD4-413A-9A83-A0EB-A168E8C45315}"/>
          </ac:grpSpMkLst>
        </pc:grpChg>
        <pc:grpChg chg="mod">
          <ac:chgData name="Kümmerle, Markus" userId="edb588ad-b118-44cb-93b6-335b967c9009" providerId="ADAL" clId="{CE9EF5D5-4AF7-4B23-BFFC-0FADDF807824}" dt="2023-04-15T16:42:13.494" v="347" actId="408"/>
          <ac:grpSpMkLst>
            <pc:docMk/>
            <pc:sldMk cId="1331663379" sldId="2065"/>
            <ac:grpSpMk id="25" creationId="{409573BB-DC4B-5847-F240-53D93C63A878}"/>
          </ac:grpSpMkLst>
        </pc:grpChg>
        <pc:grpChg chg="del">
          <ac:chgData name="Kümmerle, Markus" userId="edb588ad-b118-44cb-93b6-335b967c9009" providerId="ADAL" clId="{CE9EF5D5-4AF7-4B23-BFFC-0FADDF807824}" dt="2023-04-15T16:43:06.519" v="401" actId="165"/>
          <ac:grpSpMkLst>
            <pc:docMk/>
            <pc:sldMk cId="1331663379" sldId="2065"/>
            <ac:grpSpMk id="44" creationId="{36AA0970-1EF2-28AA-BB4A-6409EEAF7830}"/>
          </ac:grpSpMkLst>
        </pc:grpChg>
        <pc:grpChg chg="del">
          <ac:chgData name="Kümmerle, Markus" userId="edb588ad-b118-44cb-93b6-335b967c9009" providerId="ADAL" clId="{CE9EF5D5-4AF7-4B23-BFFC-0FADDF807824}" dt="2023-04-15T16:44:55.984" v="412" actId="165"/>
          <ac:grpSpMkLst>
            <pc:docMk/>
            <pc:sldMk cId="1331663379" sldId="2065"/>
            <ac:grpSpMk id="54" creationId="{0F24EC77-829D-BC5D-A16A-BA15BACA9BB2}"/>
          </ac:grpSpMkLst>
        </pc:grpChg>
        <pc:grpChg chg="del">
          <ac:chgData name="Kümmerle, Markus" userId="edb588ad-b118-44cb-93b6-335b967c9009" providerId="ADAL" clId="{CE9EF5D5-4AF7-4B23-BFFC-0FADDF807824}" dt="2023-04-15T16:32:32.441" v="0" actId="165"/>
          <ac:grpSpMkLst>
            <pc:docMk/>
            <pc:sldMk cId="1331663379" sldId="2065"/>
            <ac:grpSpMk id="64" creationId="{CFD95749-8964-D830-ED30-8D1198588274}"/>
          </ac:grpSpMkLst>
        </pc:grpChg>
        <pc:grpChg chg="add mod">
          <ac:chgData name="Kümmerle, Markus" userId="edb588ad-b118-44cb-93b6-335b967c9009" providerId="ADAL" clId="{CE9EF5D5-4AF7-4B23-BFFC-0FADDF807824}" dt="2023-04-15T16:35:55.632" v="88" actId="164"/>
          <ac:grpSpMkLst>
            <pc:docMk/>
            <pc:sldMk cId="1331663379" sldId="2065"/>
            <ac:grpSpMk id="86" creationId="{B5AE7EAB-BBDD-720A-AE74-72FA0463240D}"/>
          </ac:grpSpMkLst>
        </pc:grpChg>
        <pc:grpChg chg="add mod">
          <ac:chgData name="Kümmerle, Markus" userId="edb588ad-b118-44cb-93b6-335b967c9009" providerId="ADAL" clId="{CE9EF5D5-4AF7-4B23-BFFC-0FADDF807824}" dt="2023-04-15T16:39:16.638" v="274" actId="164"/>
          <ac:grpSpMkLst>
            <pc:docMk/>
            <pc:sldMk cId="1331663379" sldId="2065"/>
            <ac:grpSpMk id="93" creationId="{744612C0-F6BA-5E97-77AE-5A5E7EA094E2}"/>
          </ac:grpSpMkLst>
        </pc:grpChg>
        <pc:grpChg chg="add mod">
          <ac:chgData name="Kümmerle, Markus" userId="edb588ad-b118-44cb-93b6-335b967c9009" providerId="ADAL" clId="{CE9EF5D5-4AF7-4B23-BFFC-0FADDF807824}" dt="2023-04-15T16:42:50.198" v="400" actId="164"/>
          <ac:grpSpMkLst>
            <pc:docMk/>
            <pc:sldMk cId="1331663379" sldId="2065"/>
            <ac:grpSpMk id="100" creationId="{3F29933B-D725-3D8F-B23A-58806BAA0AF2}"/>
          </ac:grpSpMkLst>
        </pc:grpChg>
        <pc:grpChg chg="add mod">
          <ac:chgData name="Kümmerle, Markus" userId="edb588ad-b118-44cb-93b6-335b967c9009" providerId="ADAL" clId="{CE9EF5D5-4AF7-4B23-BFFC-0FADDF807824}" dt="2023-04-15T16:44:31.414" v="411" actId="164"/>
          <ac:grpSpMkLst>
            <pc:docMk/>
            <pc:sldMk cId="1331663379" sldId="2065"/>
            <ac:grpSpMk id="101" creationId="{96AE609F-D9D1-7637-9161-DDC76CC45B80}"/>
          </ac:grpSpMkLst>
        </pc:grpChg>
        <pc:grpChg chg="add mod">
          <ac:chgData name="Kümmerle, Markus" userId="edb588ad-b118-44cb-93b6-335b967c9009" providerId="ADAL" clId="{CE9EF5D5-4AF7-4B23-BFFC-0FADDF807824}" dt="2023-04-15T16:46:32.499" v="479" actId="164"/>
          <ac:grpSpMkLst>
            <pc:docMk/>
            <pc:sldMk cId="1331663379" sldId="2065"/>
            <ac:grpSpMk id="104" creationId="{D50DF48A-C259-BD32-3C2C-7F2C4571CBBA}"/>
          </ac:grpSpMkLst>
        </pc:grpChg>
        <pc:picChg chg="mod topLvl">
          <ac:chgData name="Kümmerle, Markus" userId="edb588ad-b118-44cb-93b6-335b967c9009" providerId="ADAL" clId="{CE9EF5D5-4AF7-4B23-BFFC-0FADDF807824}" dt="2023-04-15T16:35:55.632" v="88" actId="164"/>
          <ac:picMkLst>
            <pc:docMk/>
            <pc:sldMk cId="1331663379" sldId="2065"/>
            <ac:picMk id="6" creationId="{74E01D4D-4763-448E-BA82-D3CD64B1ABD6}"/>
          </ac:picMkLst>
        </pc:picChg>
        <pc:picChg chg="mod topLvl">
          <ac:chgData name="Kümmerle, Markus" userId="edb588ad-b118-44cb-93b6-335b967c9009" providerId="ADAL" clId="{CE9EF5D5-4AF7-4B23-BFFC-0FADDF807824}" dt="2023-04-15T16:39:16.638" v="274" actId="164"/>
          <ac:picMkLst>
            <pc:docMk/>
            <pc:sldMk cId="1331663379" sldId="2065"/>
            <ac:picMk id="7" creationId="{64E7720C-C4E6-8DC0-2EC6-8CC884A50372}"/>
          </ac:picMkLst>
        </pc:picChg>
        <pc:picChg chg="mod topLvl">
          <ac:chgData name="Kümmerle, Markus" userId="edb588ad-b118-44cb-93b6-335b967c9009" providerId="ADAL" clId="{CE9EF5D5-4AF7-4B23-BFFC-0FADDF807824}" dt="2023-04-15T16:39:16.638" v="274" actId="164"/>
          <ac:picMkLst>
            <pc:docMk/>
            <pc:sldMk cId="1331663379" sldId="2065"/>
            <ac:picMk id="8" creationId="{0BBB2E90-DE38-74A5-C15B-F0B5B52E3E2C}"/>
          </ac:picMkLst>
        </pc:picChg>
        <pc:picChg chg="mod topLvl">
          <ac:chgData name="Kümmerle, Markus" userId="edb588ad-b118-44cb-93b6-335b967c9009" providerId="ADAL" clId="{CE9EF5D5-4AF7-4B23-BFFC-0FADDF807824}" dt="2023-04-15T16:39:16.638" v="274" actId="164"/>
          <ac:picMkLst>
            <pc:docMk/>
            <pc:sldMk cId="1331663379" sldId="2065"/>
            <ac:picMk id="9" creationId="{08252AC1-A5E6-36D0-B1FB-F6A0E125C914}"/>
          </ac:picMkLst>
        </pc:picChg>
        <pc:picChg chg="mod topLvl">
          <ac:chgData name="Kümmerle, Markus" userId="edb588ad-b118-44cb-93b6-335b967c9009" providerId="ADAL" clId="{CE9EF5D5-4AF7-4B23-BFFC-0FADDF807824}" dt="2023-04-15T16:39:16.638" v="274" actId="164"/>
          <ac:picMkLst>
            <pc:docMk/>
            <pc:sldMk cId="1331663379" sldId="2065"/>
            <ac:picMk id="10" creationId="{4EB9685F-005E-E466-8D80-026C5D49747C}"/>
          </ac:picMkLst>
        </pc:picChg>
        <pc:picChg chg="mod topLvl">
          <ac:chgData name="Kümmerle, Markus" userId="edb588ad-b118-44cb-93b6-335b967c9009" providerId="ADAL" clId="{CE9EF5D5-4AF7-4B23-BFFC-0FADDF807824}" dt="2023-04-15T16:39:16.638" v="274" actId="164"/>
          <ac:picMkLst>
            <pc:docMk/>
            <pc:sldMk cId="1331663379" sldId="2065"/>
            <ac:picMk id="11" creationId="{A065712E-B152-C33D-B300-91BFDB3660AF}"/>
          </ac:picMkLst>
        </pc:picChg>
        <pc:picChg chg="mod topLvl">
          <ac:chgData name="Kümmerle, Markus" userId="edb588ad-b118-44cb-93b6-335b967c9009" providerId="ADAL" clId="{CE9EF5D5-4AF7-4B23-BFFC-0FADDF807824}" dt="2023-04-15T16:39:16.638" v="274" actId="164"/>
          <ac:picMkLst>
            <pc:docMk/>
            <pc:sldMk cId="1331663379" sldId="2065"/>
            <ac:picMk id="12" creationId="{96AB3688-3140-3CCC-8D19-311155F26C17}"/>
          </ac:picMkLst>
        </pc:picChg>
        <pc:picChg chg="mod topLvl">
          <ac:chgData name="Kümmerle, Markus" userId="edb588ad-b118-44cb-93b6-335b967c9009" providerId="ADAL" clId="{CE9EF5D5-4AF7-4B23-BFFC-0FADDF807824}" dt="2023-04-15T16:39:16.638" v="274" actId="164"/>
          <ac:picMkLst>
            <pc:docMk/>
            <pc:sldMk cId="1331663379" sldId="2065"/>
            <ac:picMk id="13" creationId="{2EB38589-90FF-6BA2-1C63-668351D0E667}"/>
          </ac:picMkLst>
        </pc:picChg>
        <pc:picChg chg="mod topLvl">
          <ac:chgData name="Kümmerle, Markus" userId="edb588ad-b118-44cb-93b6-335b967c9009" providerId="ADAL" clId="{CE9EF5D5-4AF7-4B23-BFFC-0FADDF807824}" dt="2023-04-15T16:39:16.638" v="274" actId="164"/>
          <ac:picMkLst>
            <pc:docMk/>
            <pc:sldMk cId="1331663379" sldId="2065"/>
            <ac:picMk id="14" creationId="{4D95A634-1974-49D4-2EC6-18E997A6AC9C}"/>
          </ac:picMkLst>
        </pc:picChg>
        <pc:picChg chg="mod topLvl">
          <ac:chgData name="Kümmerle, Markus" userId="edb588ad-b118-44cb-93b6-335b967c9009" providerId="ADAL" clId="{CE9EF5D5-4AF7-4B23-BFFC-0FADDF807824}" dt="2023-04-15T16:42:50.198" v="400" actId="164"/>
          <ac:picMkLst>
            <pc:docMk/>
            <pc:sldMk cId="1331663379" sldId="2065"/>
            <ac:picMk id="16" creationId="{91A88998-AD8B-BB63-8742-BE67DCB84E3C}"/>
          </ac:picMkLst>
        </pc:picChg>
        <pc:picChg chg="mod topLvl">
          <ac:chgData name="Kümmerle, Markus" userId="edb588ad-b118-44cb-93b6-335b967c9009" providerId="ADAL" clId="{CE9EF5D5-4AF7-4B23-BFFC-0FADDF807824}" dt="2023-04-15T16:42:50.198" v="400" actId="164"/>
          <ac:picMkLst>
            <pc:docMk/>
            <pc:sldMk cId="1331663379" sldId="2065"/>
            <ac:picMk id="17" creationId="{AB156C42-4187-E79E-5029-E40667EDDBC5}"/>
          </ac:picMkLst>
        </pc:picChg>
        <pc:picChg chg="mod topLvl">
          <ac:chgData name="Kümmerle, Markus" userId="edb588ad-b118-44cb-93b6-335b967c9009" providerId="ADAL" clId="{CE9EF5D5-4AF7-4B23-BFFC-0FADDF807824}" dt="2023-04-15T16:42:50.198" v="400" actId="164"/>
          <ac:picMkLst>
            <pc:docMk/>
            <pc:sldMk cId="1331663379" sldId="2065"/>
            <ac:picMk id="18" creationId="{F0AE17E9-BB46-023A-66F3-F6A59169A696}"/>
          </ac:picMkLst>
        </pc:picChg>
        <pc:picChg chg="mod topLvl">
          <ac:chgData name="Kümmerle, Markus" userId="edb588ad-b118-44cb-93b6-335b967c9009" providerId="ADAL" clId="{CE9EF5D5-4AF7-4B23-BFFC-0FADDF807824}" dt="2023-04-15T16:42:50.198" v="400" actId="164"/>
          <ac:picMkLst>
            <pc:docMk/>
            <pc:sldMk cId="1331663379" sldId="2065"/>
            <ac:picMk id="19" creationId="{42481B8B-E01F-CF96-A381-DA509D7F3E2F}"/>
          </ac:picMkLst>
        </pc:picChg>
        <pc:picChg chg="mod topLvl">
          <ac:chgData name="Kümmerle, Markus" userId="edb588ad-b118-44cb-93b6-335b967c9009" providerId="ADAL" clId="{CE9EF5D5-4AF7-4B23-BFFC-0FADDF807824}" dt="2023-04-15T16:42:50.198" v="400" actId="164"/>
          <ac:picMkLst>
            <pc:docMk/>
            <pc:sldMk cId="1331663379" sldId="2065"/>
            <ac:picMk id="20" creationId="{0284CFA3-4614-DBA8-2BD6-F82A80C41DE5}"/>
          </ac:picMkLst>
        </pc:picChg>
        <pc:picChg chg="mod topLvl">
          <ac:chgData name="Kümmerle, Markus" userId="edb588ad-b118-44cb-93b6-335b967c9009" providerId="ADAL" clId="{CE9EF5D5-4AF7-4B23-BFFC-0FADDF807824}" dt="2023-04-15T16:42:50.198" v="400" actId="164"/>
          <ac:picMkLst>
            <pc:docMk/>
            <pc:sldMk cId="1331663379" sldId="2065"/>
            <ac:picMk id="21" creationId="{DB698374-CED7-0187-DCEC-C321C758C715}"/>
          </ac:picMkLst>
        </pc:picChg>
        <pc:picChg chg="mod topLvl">
          <ac:chgData name="Kümmerle, Markus" userId="edb588ad-b118-44cb-93b6-335b967c9009" providerId="ADAL" clId="{CE9EF5D5-4AF7-4B23-BFFC-0FADDF807824}" dt="2023-04-15T16:44:31.414" v="411" actId="164"/>
          <ac:picMkLst>
            <pc:docMk/>
            <pc:sldMk cId="1331663379" sldId="2065"/>
            <ac:picMk id="23" creationId="{6365DC47-A520-223E-8FF0-761CF62A0793}"/>
          </ac:picMkLst>
        </pc:picChg>
        <pc:picChg chg="mod topLvl">
          <ac:chgData name="Kümmerle, Markus" userId="edb588ad-b118-44cb-93b6-335b967c9009" providerId="ADAL" clId="{CE9EF5D5-4AF7-4B23-BFFC-0FADDF807824}" dt="2023-04-15T16:42:50.198" v="400" actId="164"/>
          <ac:picMkLst>
            <pc:docMk/>
            <pc:sldMk cId="1331663379" sldId="2065"/>
            <ac:picMk id="24" creationId="{48886165-F175-A72C-6460-CF59E467F3D5}"/>
          </ac:picMkLst>
        </pc:picChg>
        <pc:picChg chg="mod topLvl">
          <ac:chgData name="Kümmerle, Markus" userId="edb588ad-b118-44cb-93b6-335b967c9009" providerId="ADAL" clId="{CE9EF5D5-4AF7-4B23-BFFC-0FADDF807824}" dt="2023-04-15T16:44:31.414" v="411" actId="164"/>
          <ac:picMkLst>
            <pc:docMk/>
            <pc:sldMk cId="1331663379" sldId="2065"/>
            <ac:picMk id="45" creationId="{96DBE2B7-4846-AB29-8300-D3EB3AA003FE}"/>
          </ac:picMkLst>
        </pc:picChg>
        <pc:picChg chg="mod topLvl">
          <ac:chgData name="Kümmerle, Markus" userId="edb588ad-b118-44cb-93b6-335b967c9009" providerId="ADAL" clId="{CE9EF5D5-4AF7-4B23-BFFC-0FADDF807824}" dt="2023-04-15T16:44:31.414" v="411" actId="164"/>
          <ac:picMkLst>
            <pc:docMk/>
            <pc:sldMk cId="1331663379" sldId="2065"/>
            <ac:picMk id="46" creationId="{7E008233-2D34-BFFA-E7F1-C9359A6BB1D3}"/>
          </ac:picMkLst>
        </pc:picChg>
        <pc:picChg chg="mod topLvl">
          <ac:chgData name="Kümmerle, Markus" userId="edb588ad-b118-44cb-93b6-335b967c9009" providerId="ADAL" clId="{CE9EF5D5-4AF7-4B23-BFFC-0FADDF807824}" dt="2023-04-15T16:44:31.414" v="411" actId="164"/>
          <ac:picMkLst>
            <pc:docMk/>
            <pc:sldMk cId="1331663379" sldId="2065"/>
            <ac:picMk id="47" creationId="{3044F7E0-F619-9426-1FE2-15CCF5AA846E}"/>
          </ac:picMkLst>
        </pc:picChg>
        <pc:picChg chg="mod topLvl">
          <ac:chgData name="Kümmerle, Markus" userId="edb588ad-b118-44cb-93b6-335b967c9009" providerId="ADAL" clId="{CE9EF5D5-4AF7-4B23-BFFC-0FADDF807824}" dt="2023-04-15T16:44:31.414" v="411" actId="164"/>
          <ac:picMkLst>
            <pc:docMk/>
            <pc:sldMk cId="1331663379" sldId="2065"/>
            <ac:picMk id="48" creationId="{C5FA247D-53CB-C57F-CE08-941D24133827}"/>
          </ac:picMkLst>
        </pc:picChg>
        <pc:picChg chg="mod topLvl">
          <ac:chgData name="Kümmerle, Markus" userId="edb588ad-b118-44cb-93b6-335b967c9009" providerId="ADAL" clId="{CE9EF5D5-4AF7-4B23-BFFC-0FADDF807824}" dt="2023-04-15T16:44:31.414" v="411" actId="164"/>
          <ac:picMkLst>
            <pc:docMk/>
            <pc:sldMk cId="1331663379" sldId="2065"/>
            <ac:picMk id="49" creationId="{B112CDF4-FB60-CAAE-A132-0BE45E32EE58}"/>
          </ac:picMkLst>
        </pc:picChg>
        <pc:picChg chg="mod topLvl">
          <ac:chgData name="Kümmerle, Markus" userId="edb588ad-b118-44cb-93b6-335b967c9009" providerId="ADAL" clId="{CE9EF5D5-4AF7-4B23-BFFC-0FADDF807824}" dt="2023-04-15T16:44:31.414" v="411" actId="164"/>
          <ac:picMkLst>
            <pc:docMk/>
            <pc:sldMk cId="1331663379" sldId="2065"/>
            <ac:picMk id="50" creationId="{0439649E-1641-F98D-5BE1-AB6CC68F4ED3}"/>
          </ac:picMkLst>
        </pc:picChg>
        <pc:picChg chg="mod topLvl">
          <ac:chgData name="Kümmerle, Markus" userId="edb588ad-b118-44cb-93b6-335b967c9009" providerId="ADAL" clId="{CE9EF5D5-4AF7-4B23-BFFC-0FADDF807824}" dt="2023-04-15T16:44:31.414" v="411" actId="164"/>
          <ac:picMkLst>
            <pc:docMk/>
            <pc:sldMk cId="1331663379" sldId="2065"/>
            <ac:picMk id="51" creationId="{55346761-6E85-3B7D-D6B7-EF5C34542DD6}"/>
          </ac:picMkLst>
        </pc:picChg>
        <pc:picChg chg="mod topLvl">
          <ac:chgData name="Kümmerle, Markus" userId="edb588ad-b118-44cb-93b6-335b967c9009" providerId="ADAL" clId="{CE9EF5D5-4AF7-4B23-BFFC-0FADDF807824}" dt="2023-04-15T16:44:31.414" v="411" actId="164"/>
          <ac:picMkLst>
            <pc:docMk/>
            <pc:sldMk cId="1331663379" sldId="2065"/>
            <ac:picMk id="52" creationId="{C771AAE4-8737-974F-EF72-2766A24ABB7B}"/>
          </ac:picMkLst>
        </pc:picChg>
        <pc:picChg chg="mod topLvl">
          <ac:chgData name="Kümmerle, Markus" userId="edb588ad-b118-44cb-93b6-335b967c9009" providerId="ADAL" clId="{CE9EF5D5-4AF7-4B23-BFFC-0FADDF807824}" dt="2023-04-15T16:44:31.414" v="411" actId="164"/>
          <ac:picMkLst>
            <pc:docMk/>
            <pc:sldMk cId="1331663379" sldId="2065"/>
            <ac:picMk id="53" creationId="{23BD237D-C310-9991-2960-60C5831350CF}"/>
          </ac:picMkLst>
        </pc:picChg>
        <pc:picChg chg="mod topLvl">
          <ac:chgData name="Kümmerle, Markus" userId="edb588ad-b118-44cb-93b6-335b967c9009" providerId="ADAL" clId="{CE9EF5D5-4AF7-4B23-BFFC-0FADDF807824}" dt="2023-04-15T16:46:32.499" v="479" actId="164"/>
          <ac:picMkLst>
            <pc:docMk/>
            <pc:sldMk cId="1331663379" sldId="2065"/>
            <ac:picMk id="55" creationId="{9EE68BDF-A454-ECAB-A617-56AA01089DF2}"/>
          </ac:picMkLst>
        </pc:picChg>
        <pc:picChg chg="mod topLvl">
          <ac:chgData name="Kümmerle, Markus" userId="edb588ad-b118-44cb-93b6-335b967c9009" providerId="ADAL" clId="{CE9EF5D5-4AF7-4B23-BFFC-0FADDF807824}" dt="2023-04-15T16:46:32.499" v="479" actId="164"/>
          <ac:picMkLst>
            <pc:docMk/>
            <pc:sldMk cId="1331663379" sldId="2065"/>
            <ac:picMk id="56" creationId="{B7E94BA2-3118-CC4B-44A8-31DEF8D6CC15}"/>
          </ac:picMkLst>
        </pc:picChg>
        <pc:picChg chg="mod topLvl">
          <ac:chgData name="Kümmerle, Markus" userId="edb588ad-b118-44cb-93b6-335b967c9009" providerId="ADAL" clId="{CE9EF5D5-4AF7-4B23-BFFC-0FADDF807824}" dt="2023-04-15T16:46:32.499" v="479" actId="164"/>
          <ac:picMkLst>
            <pc:docMk/>
            <pc:sldMk cId="1331663379" sldId="2065"/>
            <ac:picMk id="57" creationId="{708AD5D7-F539-6D99-F9C0-5143AF9F88E2}"/>
          </ac:picMkLst>
        </pc:picChg>
        <pc:picChg chg="mod topLvl">
          <ac:chgData name="Kümmerle, Markus" userId="edb588ad-b118-44cb-93b6-335b967c9009" providerId="ADAL" clId="{CE9EF5D5-4AF7-4B23-BFFC-0FADDF807824}" dt="2023-04-15T16:46:32.499" v="479" actId="164"/>
          <ac:picMkLst>
            <pc:docMk/>
            <pc:sldMk cId="1331663379" sldId="2065"/>
            <ac:picMk id="58" creationId="{F6C00566-8B11-4953-74CE-E5775AF8978D}"/>
          </ac:picMkLst>
        </pc:picChg>
        <pc:picChg chg="mod topLvl">
          <ac:chgData name="Kümmerle, Markus" userId="edb588ad-b118-44cb-93b6-335b967c9009" providerId="ADAL" clId="{CE9EF5D5-4AF7-4B23-BFFC-0FADDF807824}" dt="2023-04-15T16:46:32.499" v="479" actId="164"/>
          <ac:picMkLst>
            <pc:docMk/>
            <pc:sldMk cId="1331663379" sldId="2065"/>
            <ac:picMk id="59" creationId="{FD317982-FA28-CD4F-B439-A5049C38F67B}"/>
          </ac:picMkLst>
        </pc:picChg>
        <pc:picChg chg="mod topLvl">
          <ac:chgData name="Kümmerle, Markus" userId="edb588ad-b118-44cb-93b6-335b967c9009" providerId="ADAL" clId="{CE9EF5D5-4AF7-4B23-BFFC-0FADDF807824}" dt="2023-04-15T16:46:32.499" v="479" actId="164"/>
          <ac:picMkLst>
            <pc:docMk/>
            <pc:sldMk cId="1331663379" sldId="2065"/>
            <ac:picMk id="60" creationId="{47E617E1-A789-0326-C59B-E730824BBCB9}"/>
          </ac:picMkLst>
        </pc:picChg>
        <pc:picChg chg="mod topLvl">
          <ac:chgData name="Kümmerle, Markus" userId="edb588ad-b118-44cb-93b6-335b967c9009" providerId="ADAL" clId="{CE9EF5D5-4AF7-4B23-BFFC-0FADDF807824}" dt="2023-04-15T16:46:32.499" v="479" actId="164"/>
          <ac:picMkLst>
            <pc:docMk/>
            <pc:sldMk cId="1331663379" sldId="2065"/>
            <ac:picMk id="61" creationId="{810D22B4-C9E8-DCC8-A9E6-2B76B6B2A8CD}"/>
          </ac:picMkLst>
        </pc:picChg>
        <pc:picChg chg="mod topLvl">
          <ac:chgData name="Kümmerle, Markus" userId="edb588ad-b118-44cb-93b6-335b967c9009" providerId="ADAL" clId="{CE9EF5D5-4AF7-4B23-BFFC-0FADDF807824}" dt="2023-04-15T16:46:32.499" v="479" actId="164"/>
          <ac:picMkLst>
            <pc:docMk/>
            <pc:sldMk cId="1331663379" sldId="2065"/>
            <ac:picMk id="62" creationId="{A7DB6E73-7931-7CCE-D96F-50448A6C70B6}"/>
          </ac:picMkLst>
        </pc:picChg>
        <pc:picChg chg="mod topLvl">
          <ac:chgData name="Kümmerle, Markus" userId="edb588ad-b118-44cb-93b6-335b967c9009" providerId="ADAL" clId="{CE9EF5D5-4AF7-4B23-BFFC-0FADDF807824}" dt="2023-04-15T16:46:32.499" v="479" actId="164"/>
          <ac:picMkLst>
            <pc:docMk/>
            <pc:sldMk cId="1331663379" sldId="2065"/>
            <ac:picMk id="63" creationId="{1DFFE26F-7869-E7D7-2522-51D1F9344734}"/>
          </ac:picMkLst>
        </pc:picChg>
        <pc:picChg chg="mod topLvl">
          <ac:chgData name="Kümmerle, Markus" userId="edb588ad-b118-44cb-93b6-335b967c9009" providerId="ADAL" clId="{CE9EF5D5-4AF7-4B23-BFFC-0FADDF807824}" dt="2023-04-15T16:35:55.632" v="88" actId="164"/>
          <ac:picMkLst>
            <pc:docMk/>
            <pc:sldMk cId="1331663379" sldId="2065"/>
            <ac:picMk id="65" creationId="{46CB3DBD-BEDC-E9AC-FB55-C41BF9C8AF79}"/>
          </ac:picMkLst>
        </pc:picChg>
        <pc:picChg chg="mod topLvl">
          <ac:chgData name="Kümmerle, Markus" userId="edb588ad-b118-44cb-93b6-335b967c9009" providerId="ADAL" clId="{CE9EF5D5-4AF7-4B23-BFFC-0FADDF807824}" dt="2023-04-15T16:35:55.632" v="88" actId="164"/>
          <ac:picMkLst>
            <pc:docMk/>
            <pc:sldMk cId="1331663379" sldId="2065"/>
            <ac:picMk id="66" creationId="{E85CF9EC-729B-699F-E2E8-EDA716098218}"/>
          </ac:picMkLst>
        </pc:picChg>
        <pc:picChg chg="mod topLvl">
          <ac:chgData name="Kümmerle, Markus" userId="edb588ad-b118-44cb-93b6-335b967c9009" providerId="ADAL" clId="{CE9EF5D5-4AF7-4B23-BFFC-0FADDF807824}" dt="2023-04-15T16:35:55.632" v="88" actId="164"/>
          <ac:picMkLst>
            <pc:docMk/>
            <pc:sldMk cId="1331663379" sldId="2065"/>
            <ac:picMk id="67" creationId="{51E24BBA-6DDA-6644-6A5F-2852713153CC}"/>
          </ac:picMkLst>
        </pc:picChg>
        <pc:picChg chg="mod topLvl">
          <ac:chgData name="Kümmerle, Markus" userId="edb588ad-b118-44cb-93b6-335b967c9009" providerId="ADAL" clId="{CE9EF5D5-4AF7-4B23-BFFC-0FADDF807824}" dt="2023-04-15T16:35:55.632" v="88" actId="164"/>
          <ac:picMkLst>
            <pc:docMk/>
            <pc:sldMk cId="1331663379" sldId="2065"/>
            <ac:picMk id="68" creationId="{3E274A15-01D8-1CB8-A188-D874EC10230A}"/>
          </ac:picMkLst>
        </pc:picChg>
        <pc:picChg chg="mod topLvl">
          <ac:chgData name="Kümmerle, Markus" userId="edb588ad-b118-44cb-93b6-335b967c9009" providerId="ADAL" clId="{CE9EF5D5-4AF7-4B23-BFFC-0FADDF807824}" dt="2023-04-15T16:35:55.632" v="88" actId="164"/>
          <ac:picMkLst>
            <pc:docMk/>
            <pc:sldMk cId="1331663379" sldId="2065"/>
            <ac:picMk id="69" creationId="{C720F52C-6097-7BAA-A918-7F444F2E3650}"/>
          </ac:picMkLst>
        </pc:picChg>
        <pc:picChg chg="mod topLvl">
          <ac:chgData name="Kümmerle, Markus" userId="edb588ad-b118-44cb-93b6-335b967c9009" providerId="ADAL" clId="{CE9EF5D5-4AF7-4B23-BFFC-0FADDF807824}" dt="2023-04-15T16:35:55.632" v="88" actId="164"/>
          <ac:picMkLst>
            <pc:docMk/>
            <pc:sldMk cId="1331663379" sldId="2065"/>
            <ac:picMk id="70" creationId="{1F187780-0D4B-0B97-BD1B-F752B7F28463}"/>
          </ac:picMkLst>
        </pc:picChg>
        <pc:picChg chg="mod topLvl">
          <ac:chgData name="Kümmerle, Markus" userId="edb588ad-b118-44cb-93b6-335b967c9009" providerId="ADAL" clId="{CE9EF5D5-4AF7-4B23-BFFC-0FADDF807824}" dt="2023-04-15T16:35:55.632" v="88" actId="164"/>
          <ac:picMkLst>
            <pc:docMk/>
            <pc:sldMk cId="1331663379" sldId="2065"/>
            <ac:picMk id="71" creationId="{9282B1AB-24E5-4F43-476C-1AA566DA56FF}"/>
          </ac:picMkLst>
        </pc:picChg>
        <pc:picChg chg="mod topLvl">
          <ac:chgData name="Kümmerle, Markus" userId="edb588ad-b118-44cb-93b6-335b967c9009" providerId="ADAL" clId="{CE9EF5D5-4AF7-4B23-BFFC-0FADDF807824}" dt="2023-04-15T16:35:55.632" v="88" actId="164"/>
          <ac:picMkLst>
            <pc:docMk/>
            <pc:sldMk cId="1331663379" sldId="2065"/>
            <ac:picMk id="72" creationId="{F95BD523-3590-C6BB-33A1-4B3712697AF0}"/>
          </ac:picMkLst>
        </pc:picChg>
        <pc:picChg chg="mod topLvl">
          <ac:chgData name="Kümmerle, Markus" userId="edb588ad-b118-44cb-93b6-335b967c9009" providerId="ADAL" clId="{CE9EF5D5-4AF7-4B23-BFFC-0FADDF807824}" dt="2023-04-15T16:35:55.632" v="88" actId="164"/>
          <ac:picMkLst>
            <pc:docMk/>
            <pc:sldMk cId="1331663379" sldId="2065"/>
            <ac:picMk id="73" creationId="{CCE13222-DC16-6585-CEA4-E8ECA42D92E8}"/>
          </ac:picMkLst>
        </pc:picChg>
        <pc:picChg chg="add mod">
          <ac:chgData name="Kümmerle, Markus" userId="edb588ad-b118-44cb-93b6-335b967c9009" providerId="ADAL" clId="{CE9EF5D5-4AF7-4B23-BFFC-0FADDF807824}" dt="2023-04-15T16:35:55.632" v="88" actId="164"/>
          <ac:picMkLst>
            <pc:docMk/>
            <pc:sldMk cId="1331663379" sldId="2065"/>
            <ac:picMk id="85" creationId="{854F9E03-3A5B-4191-EC4C-F262433B915A}"/>
          </ac:picMkLst>
        </pc:picChg>
        <pc:picChg chg="add mod">
          <ac:chgData name="Kümmerle, Markus" userId="edb588ad-b118-44cb-93b6-335b967c9009" providerId="ADAL" clId="{CE9EF5D5-4AF7-4B23-BFFC-0FADDF807824}" dt="2023-04-15T16:39:16.638" v="274" actId="164"/>
          <ac:picMkLst>
            <pc:docMk/>
            <pc:sldMk cId="1331663379" sldId="2065"/>
            <ac:picMk id="88" creationId="{9F295224-E520-BA1A-F6E3-90B8FD403ECD}"/>
          </ac:picMkLst>
        </pc:picChg>
        <pc:picChg chg="add mod">
          <ac:chgData name="Kümmerle, Markus" userId="edb588ad-b118-44cb-93b6-335b967c9009" providerId="ADAL" clId="{CE9EF5D5-4AF7-4B23-BFFC-0FADDF807824}" dt="2023-04-15T16:39:16.638" v="274" actId="164"/>
          <ac:picMkLst>
            <pc:docMk/>
            <pc:sldMk cId="1331663379" sldId="2065"/>
            <ac:picMk id="90" creationId="{4D6146D1-8335-D2A8-355A-67E6508F3CC6}"/>
          </ac:picMkLst>
        </pc:picChg>
        <pc:picChg chg="add mod">
          <ac:chgData name="Kümmerle, Markus" userId="edb588ad-b118-44cb-93b6-335b967c9009" providerId="ADAL" clId="{CE9EF5D5-4AF7-4B23-BFFC-0FADDF807824}" dt="2023-04-15T16:39:16.638" v="274" actId="164"/>
          <ac:picMkLst>
            <pc:docMk/>
            <pc:sldMk cId="1331663379" sldId="2065"/>
            <ac:picMk id="92" creationId="{A4F8999B-8CD2-5DB9-9727-34C63C223E63}"/>
          </ac:picMkLst>
        </pc:picChg>
        <pc:picChg chg="add mod">
          <ac:chgData name="Kümmerle, Markus" userId="edb588ad-b118-44cb-93b6-335b967c9009" providerId="ADAL" clId="{CE9EF5D5-4AF7-4B23-BFFC-0FADDF807824}" dt="2023-04-15T16:42:50.198" v="400" actId="164"/>
          <ac:picMkLst>
            <pc:docMk/>
            <pc:sldMk cId="1331663379" sldId="2065"/>
            <ac:picMk id="95" creationId="{37981201-52D4-BE4D-8855-263F000DDCEF}"/>
          </ac:picMkLst>
        </pc:picChg>
        <pc:picChg chg="add mod">
          <ac:chgData name="Kümmerle, Markus" userId="edb588ad-b118-44cb-93b6-335b967c9009" providerId="ADAL" clId="{CE9EF5D5-4AF7-4B23-BFFC-0FADDF807824}" dt="2023-04-15T16:42:50.198" v="400" actId="164"/>
          <ac:picMkLst>
            <pc:docMk/>
            <pc:sldMk cId="1331663379" sldId="2065"/>
            <ac:picMk id="97" creationId="{877341B3-1D9D-CC25-B35C-66D868221447}"/>
          </ac:picMkLst>
        </pc:picChg>
        <pc:picChg chg="add mod">
          <ac:chgData name="Kümmerle, Markus" userId="edb588ad-b118-44cb-93b6-335b967c9009" providerId="ADAL" clId="{CE9EF5D5-4AF7-4B23-BFFC-0FADDF807824}" dt="2023-04-15T16:42:50.198" v="400" actId="164"/>
          <ac:picMkLst>
            <pc:docMk/>
            <pc:sldMk cId="1331663379" sldId="2065"/>
            <ac:picMk id="99" creationId="{EBD589E8-B6AD-DE1C-30D8-114A33110E13}"/>
          </ac:picMkLst>
        </pc:picChg>
        <pc:picChg chg="add mod">
          <ac:chgData name="Kümmerle, Markus" userId="edb588ad-b118-44cb-93b6-335b967c9009" providerId="ADAL" clId="{CE9EF5D5-4AF7-4B23-BFFC-0FADDF807824}" dt="2023-04-15T16:46:32.499" v="479" actId="164"/>
          <ac:picMkLst>
            <pc:docMk/>
            <pc:sldMk cId="1331663379" sldId="2065"/>
            <ac:picMk id="103" creationId="{74B057A2-3323-3FA8-1916-4F138E9310A2}"/>
          </ac:picMkLst>
        </pc:picChg>
      </pc:sldChg>
      <pc:sldChg chg="addSp delSp modSp mod">
        <pc:chgData name="Kümmerle, Markus" userId="edb588ad-b118-44cb-93b6-335b967c9009" providerId="ADAL" clId="{CE9EF5D5-4AF7-4B23-BFFC-0FADDF807824}" dt="2023-04-15T16:50:19.525" v="507" actId="2085"/>
        <pc:sldMkLst>
          <pc:docMk/>
          <pc:sldMk cId="1414803149" sldId="2066"/>
        </pc:sldMkLst>
        <pc:spChg chg="add del mod">
          <ac:chgData name="Kümmerle, Markus" userId="edb588ad-b118-44cb-93b6-335b967c9009" providerId="ADAL" clId="{CE9EF5D5-4AF7-4B23-BFFC-0FADDF807824}" dt="2023-04-15T16:49:52.111" v="500" actId="478"/>
          <ac:spMkLst>
            <pc:docMk/>
            <pc:sldMk cId="1414803149" sldId="2066"/>
            <ac:spMk id="3" creationId="{3D6B497A-7BA0-E67F-0211-C7AF4966BC91}"/>
          </ac:spMkLst>
        </pc:spChg>
        <pc:spChg chg="add mod">
          <ac:chgData name="Kümmerle, Markus" userId="edb588ad-b118-44cb-93b6-335b967c9009" providerId="ADAL" clId="{CE9EF5D5-4AF7-4B23-BFFC-0FADDF807824}" dt="2023-04-15T16:50:19.525" v="507" actId="2085"/>
          <ac:spMkLst>
            <pc:docMk/>
            <pc:sldMk cId="1414803149" sldId="2066"/>
            <ac:spMk id="4" creationId="{9D8C861F-3B77-5DEE-404C-E2AF47E212D8}"/>
          </ac:spMkLst>
        </pc:spChg>
      </pc:sldChg>
    </pc:docChg>
  </pc:docChgLst>
  <pc:docChgLst>
    <pc:chgData name="Kümmerle, Markus" userId="edb588ad-b118-44cb-93b6-335b967c9009" providerId="ADAL" clId="{B82CC40D-97D3-4F7D-9D76-D5107F3005F0}"/>
    <pc:docChg chg="undo custSel addSld delSld modSld sldOrd modSection replTag">
      <pc:chgData name="Kümmerle, Markus" userId="edb588ad-b118-44cb-93b6-335b967c9009" providerId="ADAL" clId="{B82CC40D-97D3-4F7D-9D76-D5107F3005F0}" dt="2023-07-18T12:50:18.313" v="1917" actId="1076"/>
      <pc:docMkLst>
        <pc:docMk/>
      </pc:docMkLst>
      <pc:sldChg chg="modSp mod">
        <pc:chgData name="Kümmerle, Markus" userId="edb588ad-b118-44cb-93b6-335b967c9009" providerId="ADAL" clId="{B82CC40D-97D3-4F7D-9D76-D5107F3005F0}" dt="2023-06-15T07:27:43.099" v="419" actId="20577"/>
        <pc:sldMkLst>
          <pc:docMk/>
          <pc:sldMk cId="1652484770" sldId="2044"/>
        </pc:sldMkLst>
        <pc:spChg chg="mod">
          <ac:chgData name="Kümmerle, Markus" userId="edb588ad-b118-44cb-93b6-335b967c9009" providerId="ADAL" clId="{B82CC40D-97D3-4F7D-9D76-D5107F3005F0}" dt="2023-06-15T07:27:43.099" v="419" actId="20577"/>
          <ac:spMkLst>
            <pc:docMk/>
            <pc:sldMk cId="1652484770" sldId="2044"/>
            <ac:spMk id="7" creationId="{C1CBEC6C-A35E-B413-C2F0-A045C556DBD2}"/>
          </ac:spMkLst>
        </pc:spChg>
      </pc:sldChg>
      <pc:sldChg chg="addSp delSp modSp mod">
        <pc:chgData name="Kümmerle, Markus" userId="edb588ad-b118-44cb-93b6-335b967c9009" providerId="ADAL" clId="{B82CC40D-97D3-4F7D-9D76-D5107F3005F0}" dt="2023-06-29T12:49:45.517" v="1785" actId="20577"/>
        <pc:sldMkLst>
          <pc:docMk/>
          <pc:sldMk cId="753175953" sldId="2056"/>
        </pc:sldMkLst>
        <pc:spChg chg="mod">
          <ac:chgData name="Kümmerle, Markus" userId="edb588ad-b118-44cb-93b6-335b967c9009" providerId="ADAL" clId="{B82CC40D-97D3-4F7D-9D76-D5107F3005F0}" dt="2023-06-29T12:49:45.517" v="1785" actId="20577"/>
          <ac:spMkLst>
            <pc:docMk/>
            <pc:sldMk cId="753175953" sldId="2056"/>
            <ac:spMk id="3" creationId="{403F421F-2D14-EE89-73EB-206BF78C4BA9}"/>
          </ac:spMkLst>
        </pc:spChg>
        <pc:picChg chg="add del mod">
          <ac:chgData name="Kümmerle, Markus" userId="edb588ad-b118-44cb-93b6-335b967c9009" providerId="ADAL" clId="{B82CC40D-97D3-4F7D-9D76-D5107F3005F0}" dt="2023-06-29T12:49:39.312" v="1783" actId="478"/>
          <ac:picMkLst>
            <pc:docMk/>
            <pc:sldMk cId="753175953" sldId="2056"/>
            <ac:picMk id="5" creationId="{99232BC1-DC48-A1EF-F4D6-13A99B48CFA4}"/>
          </ac:picMkLst>
        </pc:picChg>
      </pc:sldChg>
      <pc:sldChg chg="addSp delSp modSp mod ord">
        <pc:chgData name="Kümmerle, Markus" userId="edb588ad-b118-44cb-93b6-335b967c9009" providerId="ADAL" clId="{B82CC40D-97D3-4F7D-9D76-D5107F3005F0}" dt="2023-06-29T12:55:37.422" v="1883" actId="164"/>
        <pc:sldMkLst>
          <pc:docMk/>
          <pc:sldMk cId="1331663379" sldId="2065"/>
        </pc:sldMkLst>
        <pc:spChg chg="mod">
          <ac:chgData name="Kümmerle, Markus" userId="edb588ad-b118-44cb-93b6-335b967c9009" providerId="ADAL" clId="{B82CC40D-97D3-4F7D-9D76-D5107F3005F0}" dt="2023-06-15T10:31:57.934" v="798" actId="12789"/>
          <ac:spMkLst>
            <pc:docMk/>
            <pc:sldMk cId="1331663379" sldId="2065"/>
            <ac:spMk id="26" creationId="{A6DE6F58-E051-0EE5-265F-5CC6BEC29DD3}"/>
          </ac:spMkLst>
        </pc:spChg>
        <pc:spChg chg="mod">
          <ac:chgData name="Kümmerle, Markus" userId="edb588ad-b118-44cb-93b6-335b967c9009" providerId="ADAL" clId="{B82CC40D-97D3-4F7D-9D76-D5107F3005F0}" dt="2023-06-15T10:31:57.934" v="798" actId="12789"/>
          <ac:spMkLst>
            <pc:docMk/>
            <pc:sldMk cId="1331663379" sldId="2065"/>
            <ac:spMk id="27" creationId="{A2E51628-33E5-30C2-9D29-C3E29D9B5BB9}"/>
          </ac:spMkLst>
        </pc:spChg>
        <pc:spChg chg="mod">
          <ac:chgData name="Kümmerle, Markus" userId="edb588ad-b118-44cb-93b6-335b967c9009" providerId="ADAL" clId="{B82CC40D-97D3-4F7D-9D76-D5107F3005F0}" dt="2023-06-15T10:31:57.934" v="798" actId="12789"/>
          <ac:spMkLst>
            <pc:docMk/>
            <pc:sldMk cId="1331663379" sldId="2065"/>
            <ac:spMk id="28" creationId="{150C3185-22E1-0DC9-74BB-E90DD3C3A20C}"/>
          </ac:spMkLst>
        </pc:spChg>
        <pc:spChg chg="mod">
          <ac:chgData name="Kümmerle, Markus" userId="edb588ad-b118-44cb-93b6-335b967c9009" providerId="ADAL" clId="{B82CC40D-97D3-4F7D-9D76-D5107F3005F0}" dt="2023-06-15T10:31:57.934" v="798" actId="12789"/>
          <ac:spMkLst>
            <pc:docMk/>
            <pc:sldMk cId="1331663379" sldId="2065"/>
            <ac:spMk id="29" creationId="{7065B4C3-85B1-1697-939B-3A38F96488B5}"/>
          </ac:spMkLst>
        </pc:spChg>
        <pc:spChg chg="mod">
          <ac:chgData name="Kümmerle, Markus" userId="edb588ad-b118-44cb-93b6-335b967c9009" providerId="ADAL" clId="{B82CC40D-97D3-4F7D-9D76-D5107F3005F0}" dt="2023-06-15T10:31:57.934" v="798" actId="12789"/>
          <ac:spMkLst>
            <pc:docMk/>
            <pc:sldMk cId="1331663379" sldId="2065"/>
            <ac:spMk id="30" creationId="{92DAE401-2A74-F29A-161B-0A800C531922}"/>
          </ac:spMkLst>
        </pc:spChg>
        <pc:spChg chg="mod">
          <ac:chgData name="Kümmerle, Markus" userId="edb588ad-b118-44cb-93b6-335b967c9009" providerId="ADAL" clId="{B82CC40D-97D3-4F7D-9D76-D5107F3005F0}" dt="2023-06-15T10:31:57.934" v="798" actId="12789"/>
          <ac:spMkLst>
            <pc:docMk/>
            <pc:sldMk cId="1331663379" sldId="2065"/>
            <ac:spMk id="31" creationId="{582E95C1-5721-89E6-DC8C-1366AF8F12F0}"/>
          </ac:spMkLst>
        </pc:spChg>
        <pc:spChg chg="mod">
          <ac:chgData name="Kümmerle, Markus" userId="edb588ad-b118-44cb-93b6-335b967c9009" providerId="ADAL" clId="{B82CC40D-97D3-4F7D-9D76-D5107F3005F0}" dt="2023-06-15T10:31:57.934" v="798" actId="12789"/>
          <ac:spMkLst>
            <pc:docMk/>
            <pc:sldMk cId="1331663379" sldId="2065"/>
            <ac:spMk id="32" creationId="{00BAFA0F-4342-8406-29AA-32BE588CADB6}"/>
          </ac:spMkLst>
        </pc:spChg>
        <pc:grpChg chg="mod topLvl">
          <ac:chgData name="Kümmerle, Markus" userId="edb588ad-b118-44cb-93b6-335b967c9009" providerId="ADAL" clId="{B82CC40D-97D3-4F7D-9D76-D5107F3005F0}" dt="2023-06-15T10:32:01.854" v="799" actId="164"/>
          <ac:grpSpMkLst>
            <pc:docMk/>
            <pc:sldMk cId="1331663379" sldId="2065"/>
            <ac:grpSpMk id="22" creationId="{E2CC1AD4-413A-9A83-A0EB-A168E8C45315}"/>
          </ac:grpSpMkLst>
        </pc:grpChg>
        <pc:grpChg chg="mod">
          <ac:chgData name="Kümmerle, Markus" userId="edb588ad-b118-44cb-93b6-335b967c9009" providerId="ADAL" clId="{B82CC40D-97D3-4F7D-9D76-D5107F3005F0}" dt="2023-06-15T10:31:57.934" v="798" actId="12789"/>
          <ac:grpSpMkLst>
            <pc:docMk/>
            <pc:sldMk cId="1331663379" sldId="2065"/>
            <ac:grpSpMk id="25" creationId="{409573BB-DC4B-5847-F240-53D93C63A878}"/>
          </ac:grpSpMkLst>
        </pc:grpChg>
        <pc:grpChg chg="add mod">
          <ac:chgData name="Kümmerle, Markus" userId="edb588ad-b118-44cb-93b6-335b967c9009" providerId="ADAL" clId="{B82CC40D-97D3-4F7D-9D76-D5107F3005F0}" dt="2023-06-15T10:32:01.854" v="799" actId="164"/>
          <ac:grpSpMkLst>
            <pc:docMk/>
            <pc:sldMk cId="1331663379" sldId="2065"/>
            <ac:grpSpMk id="44" creationId="{769B114A-5218-D89A-9C73-1BEFD15EE8A0}"/>
          </ac:grpSpMkLst>
        </pc:grpChg>
        <pc:grpChg chg="del">
          <ac:chgData name="Kümmerle, Markus" userId="edb588ad-b118-44cb-93b6-335b967c9009" providerId="ADAL" clId="{B82CC40D-97D3-4F7D-9D76-D5107F3005F0}" dt="2023-06-15T10:34:17.143" v="931" actId="165"/>
          <ac:grpSpMkLst>
            <pc:docMk/>
            <pc:sldMk cId="1331663379" sldId="2065"/>
            <ac:grpSpMk id="74" creationId="{940EC5E8-4B9E-76AA-1A76-69535A93071A}"/>
          </ac:grpSpMkLst>
        </pc:grpChg>
        <pc:grpChg chg="del">
          <ac:chgData name="Kümmerle, Markus" userId="edb588ad-b118-44cb-93b6-335b967c9009" providerId="ADAL" clId="{B82CC40D-97D3-4F7D-9D76-D5107F3005F0}" dt="2023-06-15T10:32:44.942" v="907" actId="165"/>
          <ac:grpSpMkLst>
            <pc:docMk/>
            <pc:sldMk cId="1331663379" sldId="2065"/>
            <ac:grpSpMk id="86" creationId="{B5AE7EAB-BBDD-720A-AE74-72FA0463240D}"/>
          </ac:grpSpMkLst>
        </pc:grpChg>
        <pc:grpChg chg="add mod">
          <ac:chgData name="Kümmerle, Markus" userId="edb588ad-b118-44cb-93b6-335b967c9009" providerId="ADAL" clId="{B82CC40D-97D3-4F7D-9D76-D5107F3005F0}" dt="2023-06-15T10:33:56.594" v="929" actId="164"/>
          <ac:grpSpMkLst>
            <pc:docMk/>
            <pc:sldMk cId="1331663379" sldId="2065"/>
            <ac:grpSpMk id="87" creationId="{C00560F3-2381-A42C-92B6-3244FADD05DE}"/>
          </ac:grpSpMkLst>
        </pc:grpChg>
        <pc:grpChg chg="del">
          <ac:chgData name="Kümmerle, Markus" userId="edb588ad-b118-44cb-93b6-335b967c9009" providerId="ADAL" clId="{B82CC40D-97D3-4F7D-9D76-D5107F3005F0}" dt="2023-06-29T12:51:43.728" v="1794" actId="165"/>
          <ac:grpSpMkLst>
            <pc:docMk/>
            <pc:sldMk cId="1331663379" sldId="2065"/>
            <ac:grpSpMk id="91" creationId="{9AACA4ED-14F6-3D95-C9D1-60D47CB41F23}"/>
          </ac:grpSpMkLst>
        </pc:grpChg>
        <pc:grpChg chg="add del mod">
          <ac:chgData name="Kümmerle, Markus" userId="edb588ad-b118-44cb-93b6-335b967c9009" providerId="ADAL" clId="{B82CC40D-97D3-4F7D-9D76-D5107F3005F0}" dt="2023-06-29T12:53:14.587" v="1801" actId="165"/>
          <ac:grpSpMkLst>
            <pc:docMk/>
            <pc:sldMk cId="1331663379" sldId="2065"/>
            <ac:grpSpMk id="93" creationId="{2CBBF643-CB74-95B0-DDC0-4890DF41B0E7}"/>
          </ac:grpSpMkLst>
        </pc:grpChg>
        <pc:grpChg chg="del">
          <ac:chgData name="Kümmerle, Markus" userId="edb588ad-b118-44cb-93b6-335b967c9009" providerId="ADAL" clId="{B82CC40D-97D3-4F7D-9D76-D5107F3005F0}" dt="2023-06-15T10:30:06.843" v="648" actId="165"/>
          <ac:grpSpMkLst>
            <pc:docMk/>
            <pc:sldMk cId="1331663379" sldId="2065"/>
            <ac:grpSpMk id="94" creationId="{1D69497F-DC8E-07E3-BC8B-51644599A090}"/>
          </ac:grpSpMkLst>
        </pc:grpChg>
        <pc:grpChg chg="add mod">
          <ac:chgData name="Kümmerle, Markus" userId="edb588ad-b118-44cb-93b6-335b967c9009" providerId="ADAL" clId="{B82CC40D-97D3-4F7D-9D76-D5107F3005F0}" dt="2023-06-29T12:52:16.508" v="1800" actId="164"/>
          <ac:grpSpMkLst>
            <pc:docMk/>
            <pc:sldMk cId="1331663379" sldId="2065"/>
            <ac:grpSpMk id="94" creationId="{606C0CC9-1908-86AE-DCC6-CB8DC172EAEE}"/>
          </ac:grpSpMkLst>
        </pc:grpChg>
        <pc:grpChg chg="add del mod">
          <ac:chgData name="Kümmerle, Markus" userId="edb588ad-b118-44cb-93b6-335b967c9009" providerId="ADAL" clId="{B82CC40D-97D3-4F7D-9D76-D5107F3005F0}" dt="2023-06-29T12:53:14.587" v="1801" actId="165"/>
          <ac:grpSpMkLst>
            <pc:docMk/>
            <pc:sldMk cId="1331663379" sldId="2065"/>
            <ac:grpSpMk id="96" creationId="{2C41CCB8-A39F-D32F-673C-8D360194E413}"/>
          </ac:grpSpMkLst>
        </pc:grpChg>
        <pc:grpChg chg="add mod">
          <ac:chgData name="Kümmerle, Markus" userId="edb588ad-b118-44cb-93b6-335b967c9009" providerId="ADAL" clId="{B82CC40D-97D3-4F7D-9D76-D5107F3005F0}" dt="2023-06-29T12:54:47.953" v="1877" actId="164"/>
          <ac:grpSpMkLst>
            <pc:docMk/>
            <pc:sldMk cId="1331663379" sldId="2065"/>
            <ac:grpSpMk id="100" creationId="{F0434C64-6450-D3EA-96EC-1B82BFBE3277}"/>
          </ac:grpSpMkLst>
        </pc:grpChg>
        <pc:grpChg chg="add mod">
          <ac:chgData name="Kümmerle, Markus" userId="edb588ad-b118-44cb-93b6-335b967c9009" providerId="ADAL" clId="{B82CC40D-97D3-4F7D-9D76-D5107F3005F0}" dt="2023-06-29T12:55:37.422" v="1883" actId="164"/>
          <ac:grpSpMkLst>
            <pc:docMk/>
            <pc:sldMk cId="1331663379" sldId="2065"/>
            <ac:grpSpMk id="101" creationId="{7D16865C-3CC5-6646-F4EF-B7B260271E69}"/>
          </ac:grpSpMkLst>
        </pc:grpChg>
        <pc:grpChg chg="del">
          <ac:chgData name="Kümmerle, Markus" userId="edb588ad-b118-44cb-93b6-335b967c9009" providerId="ADAL" clId="{B82CC40D-97D3-4F7D-9D76-D5107F3005F0}" dt="2023-06-15T10:31:26.353" v="796" actId="165"/>
          <ac:grpSpMkLst>
            <pc:docMk/>
            <pc:sldMk cId="1331663379" sldId="2065"/>
            <ac:grpSpMk id="102" creationId="{F0132294-4D84-AAFD-BAE6-B4AF6477AD60}"/>
          </ac:grpSpMkLst>
        </pc:grpChg>
        <pc:picChg chg="mod topLvl">
          <ac:chgData name="Kümmerle, Markus" userId="edb588ad-b118-44cb-93b6-335b967c9009" providerId="ADAL" clId="{B82CC40D-97D3-4F7D-9D76-D5107F3005F0}" dt="2023-06-15T10:33:56.594" v="929" actId="164"/>
          <ac:picMkLst>
            <pc:docMk/>
            <pc:sldMk cId="1331663379" sldId="2065"/>
            <ac:picMk id="6" creationId="{74E01D4D-4763-448E-BA82-D3CD64B1ABD6}"/>
          </ac:picMkLst>
        </pc:picChg>
        <pc:picChg chg="mod topLvl">
          <ac:chgData name="Kümmerle, Markus" userId="edb588ad-b118-44cb-93b6-335b967c9009" providerId="ADAL" clId="{B82CC40D-97D3-4F7D-9D76-D5107F3005F0}" dt="2023-06-15T10:33:56.594" v="929" actId="164"/>
          <ac:picMkLst>
            <pc:docMk/>
            <pc:sldMk cId="1331663379" sldId="2065"/>
            <ac:picMk id="7" creationId="{64E7720C-C4E6-8DC0-2EC6-8CC884A50372}"/>
          </ac:picMkLst>
        </pc:picChg>
        <pc:picChg chg="mod topLvl">
          <ac:chgData name="Kümmerle, Markus" userId="edb588ad-b118-44cb-93b6-335b967c9009" providerId="ADAL" clId="{B82CC40D-97D3-4F7D-9D76-D5107F3005F0}" dt="2023-06-15T10:32:01.854" v="799" actId="164"/>
          <ac:picMkLst>
            <pc:docMk/>
            <pc:sldMk cId="1331663379" sldId="2065"/>
            <ac:picMk id="8" creationId="{0BBB2E90-DE38-74A5-C15B-F0B5B52E3E2C}"/>
          </ac:picMkLst>
        </pc:picChg>
        <pc:picChg chg="mod topLvl">
          <ac:chgData name="Kümmerle, Markus" userId="edb588ad-b118-44cb-93b6-335b967c9009" providerId="ADAL" clId="{B82CC40D-97D3-4F7D-9D76-D5107F3005F0}" dt="2023-06-15T10:33:56.594" v="929" actId="164"/>
          <ac:picMkLst>
            <pc:docMk/>
            <pc:sldMk cId="1331663379" sldId="2065"/>
            <ac:picMk id="9" creationId="{08252AC1-A5E6-36D0-B1FB-F6A0E125C914}"/>
          </ac:picMkLst>
        </pc:picChg>
        <pc:picChg chg="mod topLvl">
          <ac:chgData name="Kümmerle, Markus" userId="edb588ad-b118-44cb-93b6-335b967c9009" providerId="ADAL" clId="{B82CC40D-97D3-4F7D-9D76-D5107F3005F0}" dt="2023-06-15T10:32:01.854" v="799" actId="164"/>
          <ac:picMkLst>
            <pc:docMk/>
            <pc:sldMk cId="1331663379" sldId="2065"/>
            <ac:picMk id="10" creationId="{4EB9685F-005E-E466-8D80-026C5D49747C}"/>
          </ac:picMkLst>
        </pc:picChg>
        <pc:picChg chg="mod topLvl">
          <ac:chgData name="Kümmerle, Markus" userId="edb588ad-b118-44cb-93b6-335b967c9009" providerId="ADAL" clId="{B82CC40D-97D3-4F7D-9D76-D5107F3005F0}" dt="2023-06-15T10:33:56.594" v="929" actId="164"/>
          <ac:picMkLst>
            <pc:docMk/>
            <pc:sldMk cId="1331663379" sldId="2065"/>
            <ac:picMk id="11" creationId="{A065712E-B152-C33D-B300-91BFDB3660AF}"/>
          </ac:picMkLst>
        </pc:picChg>
        <pc:picChg chg="mod topLvl">
          <ac:chgData name="Kümmerle, Markus" userId="edb588ad-b118-44cb-93b6-335b967c9009" providerId="ADAL" clId="{B82CC40D-97D3-4F7D-9D76-D5107F3005F0}" dt="2023-06-15T10:33:56.594" v="929" actId="164"/>
          <ac:picMkLst>
            <pc:docMk/>
            <pc:sldMk cId="1331663379" sldId="2065"/>
            <ac:picMk id="12" creationId="{96AB3688-3140-3CCC-8D19-311155F26C17}"/>
          </ac:picMkLst>
        </pc:picChg>
        <pc:picChg chg="mod topLvl">
          <ac:chgData name="Kümmerle, Markus" userId="edb588ad-b118-44cb-93b6-335b967c9009" providerId="ADAL" clId="{B82CC40D-97D3-4F7D-9D76-D5107F3005F0}" dt="2023-06-15T10:33:56.594" v="929" actId="164"/>
          <ac:picMkLst>
            <pc:docMk/>
            <pc:sldMk cId="1331663379" sldId="2065"/>
            <ac:picMk id="13" creationId="{2EB38589-90FF-6BA2-1C63-668351D0E667}"/>
          </ac:picMkLst>
        </pc:picChg>
        <pc:picChg chg="mod topLvl">
          <ac:chgData name="Kümmerle, Markus" userId="edb588ad-b118-44cb-93b6-335b967c9009" providerId="ADAL" clId="{B82CC40D-97D3-4F7D-9D76-D5107F3005F0}" dt="2023-06-15T10:33:56.594" v="929" actId="164"/>
          <ac:picMkLst>
            <pc:docMk/>
            <pc:sldMk cId="1331663379" sldId="2065"/>
            <ac:picMk id="14" creationId="{4D95A634-1974-49D4-2EC6-18E997A6AC9C}"/>
          </ac:picMkLst>
        </pc:picChg>
        <pc:picChg chg="mod topLvl">
          <ac:chgData name="Kümmerle, Markus" userId="edb588ad-b118-44cb-93b6-335b967c9009" providerId="ADAL" clId="{B82CC40D-97D3-4F7D-9D76-D5107F3005F0}" dt="2023-06-15T10:32:01.854" v="799" actId="164"/>
          <ac:picMkLst>
            <pc:docMk/>
            <pc:sldMk cId="1331663379" sldId="2065"/>
            <ac:picMk id="16" creationId="{91A88998-AD8B-BB63-8742-BE67DCB84E3C}"/>
          </ac:picMkLst>
        </pc:picChg>
        <pc:picChg chg="mod topLvl">
          <ac:chgData name="Kümmerle, Markus" userId="edb588ad-b118-44cb-93b6-335b967c9009" providerId="ADAL" clId="{B82CC40D-97D3-4F7D-9D76-D5107F3005F0}" dt="2023-06-15T10:32:01.854" v="799" actId="164"/>
          <ac:picMkLst>
            <pc:docMk/>
            <pc:sldMk cId="1331663379" sldId="2065"/>
            <ac:picMk id="17" creationId="{AB156C42-4187-E79E-5029-E40667EDDBC5}"/>
          </ac:picMkLst>
        </pc:picChg>
        <pc:picChg chg="add mod">
          <ac:chgData name="Kümmerle, Markus" userId="edb588ad-b118-44cb-93b6-335b967c9009" providerId="ADAL" clId="{B82CC40D-97D3-4F7D-9D76-D5107F3005F0}" dt="2023-06-29T12:52:16.508" v="1800" actId="164"/>
          <ac:picMkLst>
            <pc:docMk/>
            <pc:sldMk cId="1331663379" sldId="2065"/>
            <ac:picMk id="18" creationId="{C6D49138-F018-AF0B-4141-C99477C2C669}"/>
          </ac:picMkLst>
        </pc:picChg>
        <pc:picChg chg="del mod topLvl">
          <ac:chgData name="Kümmerle, Markus" userId="edb588ad-b118-44cb-93b6-335b967c9009" providerId="ADAL" clId="{B82CC40D-97D3-4F7D-9D76-D5107F3005F0}" dt="2023-06-15T10:30:12.393" v="649" actId="478"/>
          <ac:picMkLst>
            <pc:docMk/>
            <pc:sldMk cId="1331663379" sldId="2065"/>
            <ac:picMk id="18" creationId="{F0AE17E9-BB46-023A-66F3-F6A59169A696}"/>
          </ac:picMkLst>
        </pc:picChg>
        <pc:picChg chg="mod topLvl">
          <ac:chgData name="Kümmerle, Markus" userId="edb588ad-b118-44cb-93b6-335b967c9009" providerId="ADAL" clId="{B82CC40D-97D3-4F7D-9D76-D5107F3005F0}" dt="2023-06-15T10:32:01.854" v="799" actId="164"/>
          <ac:picMkLst>
            <pc:docMk/>
            <pc:sldMk cId="1331663379" sldId="2065"/>
            <ac:picMk id="19" creationId="{42481B8B-E01F-CF96-A381-DA509D7F3E2F}"/>
          </ac:picMkLst>
        </pc:picChg>
        <pc:picChg chg="mod topLvl">
          <ac:chgData name="Kümmerle, Markus" userId="edb588ad-b118-44cb-93b6-335b967c9009" providerId="ADAL" clId="{B82CC40D-97D3-4F7D-9D76-D5107F3005F0}" dt="2023-06-15T10:32:01.854" v="799" actId="164"/>
          <ac:picMkLst>
            <pc:docMk/>
            <pc:sldMk cId="1331663379" sldId="2065"/>
            <ac:picMk id="20" creationId="{0284CFA3-4614-DBA8-2BD6-F82A80C41DE5}"/>
          </ac:picMkLst>
        </pc:picChg>
        <pc:picChg chg="mod topLvl">
          <ac:chgData name="Kümmerle, Markus" userId="edb588ad-b118-44cb-93b6-335b967c9009" providerId="ADAL" clId="{B82CC40D-97D3-4F7D-9D76-D5107F3005F0}" dt="2023-06-15T10:32:01.854" v="799" actId="164"/>
          <ac:picMkLst>
            <pc:docMk/>
            <pc:sldMk cId="1331663379" sldId="2065"/>
            <ac:picMk id="21" creationId="{DB698374-CED7-0187-DCEC-C321C758C715}"/>
          </ac:picMkLst>
        </pc:picChg>
        <pc:picChg chg="mod topLvl">
          <ac:chgData name="Kümmerle, Markus" userId="edb588ad-b118-44cb-93b6-335b967c9009" providerId="ADAL" clId="{B82CC40D-97D3-4F7D-9D76-D5107F3005F0}" dt="2023-06-29T12:52:16.508" v="1800" actId="164"/>
          <ac:picMkLst>
            <pc:docMk/>
            <pc:sldMk cId="1331663379" sldId="2065"/>
            <ac:picMk id="23" creationId="{6365DC47-A520-223E-8FF0-761CF62A0793}"/>
          </ac:picMkLst>
        </pc:picChg>
        <pc:picChg chg="mod topLvl">
          <ac:chgData name="Kümmerle, Markus" userId="edb588ad-b118-44cb-93b6-335b967c9009" providerId="ADAL" clId="{B82CC40D-97D3-4F7D-9D76-D5107F3005F0}" dt="2023-06-15T10:32:01.854" v="799" actId="164"/>
          <ac:picMkLst>
            <pc:docMk/>
            <pc:sldMk cId="1331663379" sldId="2065"/>
            <ac:picMk id="24" creationId="{48886165-F175-A72C-6460-CF59E467F3D5}"/>
          </ac:picMkLst>
        </pc:picChg>
        <pc:picChg chg="add mod topLvl">
          <ac:chgData name="Kümmerle, Markus" userId="edb588ad-b118-44cb-93b6-335b967c9009" providerId="ADAL" clId="{B82CC40D-97D3-4F7D-9D76-D5107F3005F0}" dt="2023-06-29T12:54:47.953" v="1877" actId="164"/>
          <ac:picMkLst>
            <pc:docMk/>
            <pc:sldMk cId="1331663379" sldId="2065"/>
            <ac:picMk id="33" creationId="{0AF539BE-08E6-3D52-0E4D-FAE3BAAB6871}"/>
          </ac:picMkLst>
        </pc:picChg>
        <pc:picChg chg="mod topLvl">
          <ac:chgData name="Kümmerle, Markus" userId="edb588ad-b118-44cb-93b6-335b967c9009" providerId="ADAL" clId="{B82CC40D-97D3-4F7D-9D76-D5107F3005F0}" dt="2023-06-29T12:52:16.508" v="1800" actId="164"/>
          <ac:picMkLst>
            <pc:docMk/>
            <pc:sldMk cId="1331663379" sldId="2065"/>
            <ac:picMk id="45" creationId="{96DBE2B7-4846-AB29-8300-D3EB3AA003FE}"/>
          </ac:picMkLst>
        </pc:picChg>
        <pc:picChg chg="mod topLvl">
          <ac:chgData name="Kümmerle, Markus" userId="edb588ad-b118-44cb-93b6-335b967c9009" providerId="ADAL" clId="{B82CC40D-97D3-4F7D-9D76-D5107F3005F0}" dt="2023-06-29T12:52:16.508" v="1800" actId="164"/>
          <ac:picMkLst>
            <pc:docMk/>
            <pc:sldMk cId="1331663379" sldId="2065"/>
            <ac:picMk id="46" creationId="{7E008233-2D34-BFFA-E7F1-C9359A6BB1D3}"/>
          </ac:picMkLst>
        </pc:picChg>
        <pc:picChg chg="del mod topLvl">
          <ac:chgData name="Kümmerle, Markus" userId="edb588ad-b118-44cb-93b6-335b967c9009" providerId="ADAL" clId="{B82CC40D-97D3-4F7D-9D76-D5107F3005F0}" dt="2023-06-29T12:51:57.632" v="1797" actId="478"/>
          <ac:picMkLst>
            <pc:docMk/>
            <pc:sldMk cId="1331663379" sldId="2065"/>
            <ac:picMk id="47" creationId="{3044F7E0-F619-9426-1FE2-15CCF5AA846E}"/>
          </ac:picMkLst>
        </pc:picChg>
        <pc:picChg chg="mod topLvl">
          <ac:chgData name="Kümmerle, Markus" userId="edb588ad-b118-44cb-93b6-335b967c9009" providerId="ADAL" clId="{B82CC40D-97D3-4F7D-9D76-D5107F3005F0}" dt="2023-06-29T12:52:16.508" v="1800" actId="164"/>
          <ac:picMkLst>
            <pc:docMk/>
            <pc:sldMk cId="1331663379" sldId="2065"/>
            <ac:picMk id="49" creationId="{B112CDF4-FB60-CAAE-A132-0BE45E32EE58}"/>
          </ac:picMkLst>
        </pc:picChg>
        <pc:picChg chg="mod topLvl">
          <ac:chgData name="Kümmerle, Markus" userId="edb588ad-b118-44cb-93b6-335b967c9009" providerId="ADAL" clId="{B82CC40D-97D3-4F7D-9D76-D5107F3005F0}" dt="2023-06-29T12:52:16.508" v="1800" actId="164"/>
          <ac:picMkLst>
            <pc:docMk/>
            <pc:sldMk cId="1331663379" sldId="2065"/>
            <ac:picMk id="50" creationId="{0439649E-1641-F98D-5BE1-AB6CC68F4ED3}"/>
          </ac:picMkLst>
        </pc:picChg>
        <pc:picChg chg="mod topLvl">
          <ac:chgData name="Kümmerle, Markus" userId="edb588ad-b118-44cb-93b6-335b967c9009" providerId="ADAL" clId="{B82CC40D-97D3-4F7D-9D76-D5107F3005F0}" dt="2023-06-29T12:52:16.508" v="1800" actId="164"/>
          <ac:picMkLst>
            <pc:docMk/>
            <pc:sldMk cId="1331663379" sldId="2065"/>
            <ac:picMk id="51" creationId="{55346761-6E85-3B7D-D6B7-EF5C34542DD6}"/>
          </ac:picMkLst>
        </pc:picChg>
        <pc:picChg chg="mod topLvl">
          <ac:chgData name="Kümmerle, Markus" userId="edb588ad-b118-44cb-93b6-335b967c9009" providerId="ADAL" clId="{B82CC40D-97D3-4F7D-9D76-D5107F3005F0}" dt="2023-06-29T12:52:16.508" v="1800" actId="164"/>
          <ac:picMkLst>
            <pc:docMk/>
            <pc:sldMk cId="1331663379" sldId="2065"/>
            <ac:picMk id="52" creationId="{C771AAE4-8737-974F-EF72-2766A24ABB7B}"/>
          </ac:picMkLst>
        </pc:picChg>
        <pc:picChg chg="mod topLvl">
          <ac:chgData name="Kümmerle, Markus" userId="edb588ad-b118-44cb-93b6-335b967c9009" providerId="ADAL" clId="{B82CC40D-97D3-4F7D-9D76-D5107F3005F0}" dt="2023-06-29T12:52:16.508" v="1800" actId="164"/>
          <ac:picMkLst>
            <pc:docMk/>
            <pc:sldMk cId="1331663379" sldId="2065"/>
            <ac:picMk id="53" creationId="{23BD237D-C310-9991-2960-60C5831350CF}"/>
          </ac:picMkLst>
        </pc:picChg>
        <pc:picChg chg="mod topLvl">
          <ac:chgData name="Kümmerle, Markus" userId="edb588ad-b118-44cb-93b6-335b967c9009" providerId="ADAL" clId="{B82CC40D-97D3-4F7D-9D76-D5107F3005F0}" dt="2023-06-29T12:55:37.422" v="1883" actId="164"/>
          <ac:picMkLst>
            <pc:docMk/>
            <pc:sldMk cId="1331663379" sldId="2065"/>
            <ac:picMk id="65" creationId="{46CB3DBD-BEDC-E9AC-FB55-C41BF9C8AF79}"/>
          </ac:picMkLst>
        </pc:picChg>
        <pc:picChg chg="mod topLvl">
          <ac:chgData name="Kümmerle, Markus" userId="edb588ad-b118-44cb-93b6-335b967c9009" providerId="ADAL" clId="{B82CC40D-97D3-4F7D-9D76-D5107F3005F0}" dt="2023-06-29T12:55:37.422" v="1883" actId="164"/>
          <ac:picMkLst>
            <pc:docMk/>
            <pc:sldMk cId="1331663379" sldId="2065"/>
            <ac:picMk id="66" creationId="{E85CF9EC-729B-699F-E2E8-EDA716098218}"/>
          </ac:picMkLst>
        </pc:picChg>
        <pc:picChg chg="mod topLvl">
          <ac:chgData name="Kümmerle, Markus" userId="edb588ad-b118-44cb-93b6-335b967c9009" providerId="ADAL" clId="{B82CC40D-97D3-4F7D-9D76-D5107F3005F0}" dt="2023-06-29T12:55:37.422" v="1883" actId="164"/>
          <ac:picMkLst>
            <pc:docMk/>
            <pc:sldMk cId="1331663379" sldId="2065"/>
            <ac:picMk id="67" creationId="{51E24BBA-6DDA-6644-6A5F-2852713153CC}"/>
          </ac:picMkLst>
        </pc:picChg>
        <pc:picChg chg="mod topLvl">
          <ac:chgData name="Kümmerle, Markus" userId="edb588ad-b118-44cb-93b6-335b967c9009" providerId="ADAL" clId="{B82CC40D-97D3-4F7D-9D76-D5107F3005F0}" dt="2023-06-29T12:55:37.422" v="1883" actId="164"/>
          <ac:picMkLst>
            <pc:docMk/>
            <pc:sldMk cId="1331663379" sldId="2065"/>
            <ac:picMk id="68" creationId="{3E274A15-01D8-1CB8-A188-D874EC10230A}"/>
          </ac:picMkLst>
        </pc:picChg>
        <pc:picChg chg="mod topLvl">
          <ac:chgData name="Kümmerle, Markus" userId="edb588ad-b118-44cb-93b6-335b967c9009" providerId="ADAL" clId="{B82CC40D-97D3-4F7D-9D76-D5107F3005F0}" dt="2023-06-29T12:55:37.422" v="1883" actId="164"/>
          <ac:picMkLst>
            <pc:docMk/>
            <pc:sldMk cId="1331663379" sldId="2065"/>
            <ac:picMk id="69" creationId="{C720F52C-6097-7BAA-A918-7F444F2E3650}"/>
          </ac:picMkLst>
        </pc:picChg>
        <pc:picChg chg="mod topLvl">
          <ac:chgData name="Kümmerle, Markus" userId="edb588ad-b118-44cb-93b6-335b967c9009" providerId="ADAL" clId="{B82CC40D-97D3-4F7D-9D76-D5107F3005F0}" dt="2023-06-29T12:55:37.422" v="1883" actId="164"/>
          <ac:picMkLst>
            <pc:docMk/>
            <pc:sldMk cId="1331663379" sldId="2065"/>
            <ac:picMk id="70" creationId="{1F187780-0D4B-0B97-BD1B-F752B7F28463}"/>
          </ac:picMkLst>
        </pc:picChg>
        <pc:picChg chg="mod topLvl">
          <ac:chgData name="Kümmerle, Markus" userId="edb588ad-b118-44cb-93b6-335b967c9009" providerId="ADAL" clId="{B82CC40D-97D3-4F7D-9D76-D5107F3005F0}" dt="2023-06-29T12:55:37.422" v="1883" actId="164"/>
          <ac:picMkLst>
            <pc:docMk/>
            <pc:sldMk cId="1331663379" sldId="2065"/>
            <ac:picMk id="71" creationId="{9282B1AB-24E5-4F43-476C-1AA566DA56FF}"/>
          </ac:picMkLst>
        </pc:picChg>
        <pc:picChg chg="mod topLvl">
          <ac:chgData name="Kümmerle, Markus" userId="edb588ad-b118-44cb-93b6-335b967c9009" providerId="ADAL" clId="{B82CC40D-97D3-4F7D-9D76-D5107F3005F0}" dt="2023-06-29T12:55:37.422" v="1883" actId="164"/>
          <ac:picMkLst>
            <pc:docMk/>
            <pc:sldMk cId="1331663379" sldId="2065"/>
            <ac:picMk id="72" creationId="{F95BD523-3590-C6BB-33A1-4B3712697AF0}"/>
          </ac:picMkLst>
        </pc:picChg>
        <pc:picChg chg="mod topLvl">
          <ac:chgData name="Kümmerle, Markus" userId="edb588ad-b118-44cb-93b6-335b967c9009" providerId="ADAL" clId="{B82CC40D-97D3-4F7D-9D76-D5107F3005F0}" dt="2023-06-29T12:55:37.422" v="1883" actId="164"/>
          <ac:picMkLst>
            <pc:docMk/>
            <pc:sldMk cId="1331663379" sldId="2065"/>
            <ac:picMk id="73" creationId="{CCE13222-DC16-6585-CEA4-E8ECA42D92E8}"/>
          </ac:picMkLst>
        </pc:picChg>
        <pc:picChg chg="mod topLvl">
          <ac:chgData name="Kümmerle, Markus" userId="edb588ad-b118-44cb-93b6-335b967c9009" providerId="ADAL" clId="{B82CC40D-97D3-4F7D-9D76-D5107F3005F0}" dt="2023-06-29T12:54:47.953" v="1877" actId="164"/>
          <ac:picMkLst>
            <pc:docMk/>
            <pc:sldMk cId="1331663379" sldId="2065"/>
            <ac:picMk id="75" creationId="{2F811515-F54E-66FE-970E-3A6E7624762A}"/>
          </ac:picMkLst>
        </pc:picChg>
        <pc:picChg chg="mod topLvl">
          <ac:chgData name="Kümmerle, Markus" userId="edb588ad-b118-44cb-93b6-335b967c9009" providerId="ADAL" clId="{B82CC40D-97D3-4F7D-9D76-D5107F3005F0}" dt="2023-06-29T12:54:47.953" v="1877" actId="164"/>
          <ac:picMkLst>
            <pc:docMk/>
            <pc:sldMk cId="1331663379" sldId="2065"/>
            <ac:picMk id="76" creationId="{D3C3E44C-4710-051B-29E6-78C5DBE805D3}"/>
          </ac:picMkLst>
        </pc:picChg>
        <pc:picChg chg="mod topLvl">
          <ac:chgData name="Kümmerle, Markus" userId="edb588ad-b118-44cb-93b6-335b967c9009" providerId="ADAL" clId="{B82CC40D-97D3-4F7D-9D76-D5107F3005F0}" dt="2023-06-29T12:54:47.953" v="1877" actId="164"/>
          <ac:picMkLst>
            <pc:docMk/>
            <pc:sldMk cId="1331663379" sldId="2065"/>
            <ac:picMk id="77" creationId="{DC7149A7-4494-8768-889A-B88F9C91E0B0}"/>
          </ac:picMkLst>
        </pc:picChg>
        <pc:picChg chg="mod topLvl">
          <ac:chgData name="Kümmerle, Markus" userId="edb588ad-b118-44cb-93b6-335b967c9009" providerId="ADAL" clId="{B82CC40D-97D3-4F7D-9D76-D5107F3005F0}" dt="2023-06-29T12:54:47.953" v="1877" actId="164"/>
          <ac:picMkLst>
            <pc:docMk/>
            <pc:sldMk cId="1331663379" sldId="2065"/>
            <ac:picMk id="78" creationId="{83947B58-A368-0C48-DCBF-EEBAA8388B02}"/>
          </ac:picMkLst>
        </pc:picChg>
        <pc:picChg chg="mod topLvl">
          <ac:chgData name="Kümmerle, Markus" userId="edb588ad-b118-44cb-93b6-335b967c9009" providerId="ADAL" clId="{B82CC40D-97D3-4F7D-9D76-D5107F3005F0}" dt="2023-06-29T12:54:47.953" v="1877" actId="164"/>
          <ac:picMkLst>
            <pc:docMk/>
            <pc:sldMk cId="1331663379" sldId="2065"/>
            <ac:picMk id="79" creationId="{9D324D47-7B2E-6C2D-1678-FD310F0EB05C}"/>
          </ac:picMkLst>
        </pc:picChg>
        <pc:picChg chg="mod topLvl">
          <ac:chgData name="Kümmerle, Markus" userId="edb588ad-b118-44cb-93b6-335b967c9009" providerId="ADAL" clId="{B82CC40D-97D3-4F7D-9D76-D5107F3005F0}" dt="2023-06-29T12:54:47.953" v="1877" actId="164"/>
          <ac:picMkLst>
            <pc:docMk/>
            <pc:sldMk cId="1331663379" sldId="2065"/>
            <ac:picMk id="80" creationId="{3A2741D6-9FDB-2981-E940-A98BAB7C6A73}"/>
          </ac:picMkLst>
        </pc:picChg>
        <pc:picChg chg="mod topLvl">
          <ac:chgData name="Kümmerle, Markus" userId="edb588ad-b118-44cb-93b6-335b967c9009" providerId="ADAL" clId="{B82CC40D-97D3-4F7D-9D76-D5107F3005F0}" dt="2023-06-29T12:55:37.422" v="1883" actId="164"/>
          <ac:picMkLst>
            <pc:docMk/>
            <pc:sldMk cId="1331663379" sldId="2065"/>
            <ac:picMk id="81" creationId="{1926719B-146C-D9BA-FD2C-8E22EA5F54B0}"/>
          </ac:picMkLst>
        </pc:picChg>
        <pc:picChg chg="mod topLvl">
          <ac:chgData name="Kümmerle, Markus" userId="edb588ad-b118-44cb-93b6-335b967c9009" providerId="ADAL" clId="{B82CC40D-97D3-4F7D-9D76-D5107F3005F0}" dt="2023-06-29T12:54:47.953" v="1877" actId="164"/>
          <ac:picMkLst>
            <pc:docMk/>
            <pc:sldMk cId="1331663379" sldId="2065"/>
            <ac:picMk id="82" creationId="{F8708246-26C6-7273-EC73-318841552446}"/>
          </ac:picMkLst>
        </pc:picChg>
        <pc:picChg chg="mod topLvl">
          <ac:chgData name="Kümmerle, Markus" userId="edb588ad-b118-44cb-93b6-335b967c9009" providerId="ADAL" clId="{B82CC40D-97D3-4F7D-9D76-D5107F3005F0}" dt="2023-06-29T12:54:47.953" v="1877" actId="164"/>
          <ac:picMkLst>
            <pc:docMk/>
            <pc:sldMk cId="1331663379" sldId="2065"/>
            <ac:picMk id="83" creationId="{463D7BB9-0BDA-6AD3-C7AA-57AB8D9FCB8F}"/>
          </ac:picMkLst>
        </pc:picChg>
        <pc:picChg chg="mod topLvl">
          <ac:chgData name="Kümmerle, Markus" userId="edb588ad-b118-44cb-93b6-335b967c9009" providerId="ADAL" clId="{B82CC40D-97D3-4F7D-9D76-D5107F3005F0}" dt="2023-06-29T12:54:47.953" v="1877" actId="164"/>
          <ac:picMkLst>
            <pc:docMk/>
            <pc:sldMk cId="1331663379" sldId="2065"/>
            <ac:picMk id="84" creationId="{7BA569D8-F30D-6816-7446-A6E215C782FA}"/>
          </ac:picMkLst>
        </pc:picChg>
        <pc:picChg chg="mod topLvl">
          <ac:chgData name="Kümmerle, Markus" userId="edb588ad-b118-44cb-93b6-335b967c9009" providerId="ADAL" clId="{B82CC40D-97D3-4F7D-9D76-D5107F3005F0}" dt="2023-06-15T10:33:56.594" v="929" actId="164"/>
          <ac:picMkLst>
            <pc:docMk/>
            <pc:sldMk cId="1331663379" sldId="2065"/>
            <ac:picMk id="85" creationId="{854F9E03-3A5B-4191-EC4C-F262433B915A}"/>
          </ac:picMkLst>
        </pc:picChg>
        <pc:picChg chg="add mod">
          <ac:chgData name="Kümmerle, Markus" userId="edb588ad-b118-44cb-93b6-335b967c9009" providerId="ADAL" clId="{B82CC40D-97D3-4F7D-9D76-D5107F3005F0}" dt="2023-06-29T12:55:37.422" v="1883" actId="164"/>
          <ac:picMkLst>
            <pc:docMk/>
            <pc:sldMk cId="1331663379" sldId="2065"/>
            <ac:picMk id="86" creationId="{1F83585A-2F41-FA4B-704D-BD79178C26A6}"/>
          </ac:picMkLst>
        </pc:picChg>
        <pc:picChg chg="mod topLvl">
          <ac:chgData name="Kümmerle, Markus" userId="edb588ad-b118-44cb-93b6-335b967c9009" providerId="ADAL" clId="{B82CC40D-97D3-4F7D-9D76-D5107F3005F0}" dt="2023-06-15T10:33:56.594" v="929" actId="164"/>
          <ac:picMkLst>
            <pc:docMk/>
            <pc:sldMk cId="1331663379" sldId="2065"/>
            <ac:picMk id="88" creationId="{9F295224-E520-BA1A-F6E3-90B8FD403ECD}"/>
          </ac:picMkLst>
        </pc:picChg>
        <pc:picChg chg="mod topLvl">
          <ac:chgData name="Kümmerle, Markus" userId="edb588ad-b118-44cb-93b6-335b967c9009" providerId="ADAL" clId="{B82CC40D-97D3-4F7D-9D76-D5107F3005F0}" dt="2023-06-29T12:52:16.508" v="1800" actId="164"/>
          <ac:picMkLst>
            <pc:docMk/>
            <pc:sldMk cId="1331663379" sldId="2065"/>
            <ac:picMk id="89" creationId="{AD1DE613-92AB-19D2-D19B-C1C73795F94C}"/>
          </ac:picMkLst>
        </pc:picChg>
        <pc:picChg chg="mod topLvl">
          <ac:chgData name="Kümmerle, Markus" userId="edb588ad-b118-44cb-93b6-335b967c9009" providerId="ADAL" clId="{B82CC40D-97D3-4F7D-9D76-D5107F3005F0}" dt="2023-06-15T10:33:56.594" v="929" actId="164"/>
          <ac:picMkLst>
            <pc:docMk/>
            <pc:sldMk cId="1331663379" sldId="2065"/>
            <ac:picMk id="90" creationId="{4D6146D1-8335-D2A8-355A-67E6508F3CC6}"/>
          </ac:picMkLst>
        </pc:picChg>
        <pc:picChg chg="mod topLvl">
          <ac:chgData name="Kümmerle, Markus" userId="edb588ad-b118-44cb-93b6-335b967c9009" providerId="ADAL" clId="{B82CC40D-97D3-4F7D-9D76-D5107F3005F0}" dt="2023-06-15T10:33:56.594" v="929" actId="164"/>
          <ac:picMkLst>
            <pc:docMk/>
            <pc:sldMk cId="1331663379" sldId="2065"/>
            <ac:picMk id="92" creationId="{A4F8999B-8CD2-5DB9-9727-34C63C223E63}"/>
          </ac:picMkLst>
        </pc:picChg>
        <pc:picChg chg="mod topLvl">
          <ac:chgData name="Kümmerle, Markus" userId="edb588ad-b118-44cb-93b6-335b967c9009" providerId="ADAL" clId="{B82CC40D-97D3-4F7D-9D76-D5107F3005F0}" dt="2023-06-15T10:32:01.854" v="799" actId="164"/>
          <ac:picMkLst>
            <pc:docMk/>
            <pc:sldMk cId="1331663379" sldId="2065"/>
            <ac:picMk id="95" creationId="{37981201-52D4-BE4D-8855-263F000DDCEF}"/>
          </ac:picMkLst>
        </pc:picChg>
        <pc:picChg chg="mod topLvl">
          <ac:chgData name="Kümmerle, Markus" userId="edb588ad-b118-44cb-93b6-335b967c9009" providerId="ADAL" clId="{B82CC40D-97D3-4F7D-9D76-D5107F3005F0}" dt="2023-06-15T10:32:01.854" v="799" actId="164"/>
          <ac:picMkLst>
            <pc:docMk/>
            <pc:sldMk cId="1331663379" sldId="2065"/>
            <ac:picMk id="97" creationId="{877341B3-1D9D-CC25-B35C-66D868221447}"/>
          </ac:picMkLst>
        </pc:picChg>
        <pc:picChg chg="mod topLvl">
          <ac:chgData name="Kümmerle, Markus" userId="edb588ad-b118-44cb-93b6-335b967c9009" providerId="ADAL" clId="{B82CC40D-97D3-4F7D-9D76-D5107F3005F0}" dt="2023-06-15T10:33:56.594" v="929" actId="164"/>
          <ac:picMkLst>
            <pc:docMk/>
            <pc:sldMk cId="1331663379" sldId="2065"/>
            <ac:picMk id="98" creationId="{3DAA6EB6-9DF8-AA70-48A5-4AF6429057D3}"/>
          </ac:picMkLst>
        </pc:picChg>
        <pc:picChg chg="mod topLvl">
          <ac:chgData name="Kümmerle, Markus" userId="edb588ad-b118-44cb-93b6-335b967c9009" providerId="ADAL" clId="{B82CC40D-97D3-4F7D-9D76-D5107F3005F0}" dt="2023-06-15T10:32:01.854" v="799" actId="164"/>
          <ac:picMkLst>
            <pc:docMk/>
            <pc:sldMk cId="1331663379" sldId="2065"/>
            <ac:picMk id="99" creationId="{EBD589E8-B6AD-DE1C-30D8-114A33110E13}"/>
          </ac:picMkLst>
        </pc:picChg>
      </pc:sldChg>
      <pc:sldChg chg="addSp delSp modSp mod">
        <pc:chgData name="Kümmerle, Markus" userId="edb588ad-b118-44cb-93b6-335b967c9009" providerId="ADAL" clId="{B82CC40D-97D3-4F7D-9D76-D5107F3005F0}" dt="2023-07-17T06:10:33.254" v="1907" actId="20577"/>
        <pc:sldMkLst>
          <pc:docMk/>
          <pc:sldMk cId="1414803149" sldId="2066"/>
        </pc:sldMkLst>
        <pc:spChg chg="mod">
          <ac:chgData name="Kümmerle, Markus" userId="edb588ad-b118-44cb-93b6-335b967c9009" providerId="ADAL" clId="{B82CC40D-97D3-4F7D-9D76-D5107F3005F0}" dt="2023-06-29T12:39:15.227" v="1579" actId="948"/>
          <ac:spMkLst>
            <pc:docMk/>
            <pc:sldMk cId="1414803149" sldId="2066"/>
            <ac:spMk id="2" creationId="{7D742CC3-DD2D-6F61-D9C9-8DFCE6ADE0FC}"/>
          </ac:spMkLst>
        </pc:spChg>
        <pc:spChg chg="add mod">
          <ac:chgData name="Kümmerle, Markus" userId="edb588ad-b118-44cb-93b6-335b967c9009" providerId="ADAL" clId="{B82CC40D-97D3-4F7D-9D76-D5107F3005F0}" dt="2023-06-29T12:48:33.131" v="1761" actId="164"/>
          <ac:spMkLst>
            <pc:docMk/>
            <pc:sldMk cId="1414803149" sldId="2066"/>
            <ac:spMk id="3" creationId="{38AC8557-C54F-70C7-6086-B8EA0319897E}"/>
          </ac:spMkLst>
        </pc:spChg>
        <pc:spChg chg="mod">
          <ac:chgData name="Kümmerle, Markus" userId="edb588ad-b118-44cb-93b6-335b967c9009" providerId="ADAL" clId="{B82CC40D-97D3-4F7D-9D76-D5107F3005F0}" dt="2023-06-29T12:48:33.131" v="1761" actId="164"/>
          <ac:spMkLst>
            <pc:docMk/>
            <pc:sldMk cId="1414803149" sldId="2066"/>
            <ac:spMk id="4" creationId="{9D8C861F-3B77-5DEE-404C-E2AF47E212D8}"/>
          </ac:spMkLst>
        </pc:spChg>
        <pc:spChg chg="mod">
          <ac:chgData name="Kümmerle, Markus" userId="edb588ad-b118-44cb-93b6-335b967c9009" providerId="ADAL" clId="{B82CC40D-97D3-4F7D-9D76-D5107F3005F0}" dt="2023-06-29T12:48:45.409" v="1763" actId="164"/>
          <ac:spMkLst>
            <pc:docMk/>
            <pc:sldMk cId="1414803149" sldId="2066"/>
            <ac:spMk id="6" creationId="{CE6EC7AC-C274-C712-D8C0-FDD436C12B8E}"/>
          </ac:spMkLst>
        </pc:spChg>
        <pc:spChg chg="mod">
          <ac:chgData name="Kümmerle, Markus" userId="edb588ad-b118-44cb-93b6-335b967c9009" providerId="ADAL" clId="{B82CC40D-97D3-4F7D-9D76-D5107F3005F0}" dt="2023-06-29T12:48:45.409" v="1763" actId="164"/>
          <ac:spMkLst>
            <pc:docMk/>
            <pc:sldMk cId="1414803149" sldId="2066"/>
            <ac:spMk id="7" creationId="{79709361-43C7-3E37-0069-F89DF610EEC7}"/>
          </ac:spMkLst>
        </pc:spChg>
        <pc:spChg chg="mod">
          <ac:chgData name="Kümmerle, Markus" userId="edb588ad-b118-44cb-93b6-335b967c9009" providerId="ADAL" clId="{B82CC40D-97D3-4F7D-9D76-D5107F3005F0}" dt="2023-06-29T12:48:39.472" v="1762" actId="164"/>
          <ac:spMkLst>
            <pc:docMk/>
            <pc:sldMk cId="1414803149" sldId="2066"/>
            <ac:spMk id="8" creationId="{0A953785-E519-78B6-ED8D-7943015B543B}"/>
          </ac:spMkLst>
        </pc:spChg>
        <pc:spChg chg="mod">
          <ac:chgData name="Kümmerle, Markus" userId="edb588ad-b118-44cb-93b6-335b967c9009" providerId="ADAL" clId="{B82CC40D-97D3-4F7D-9D76-D5107F3005F0}" dt="2023-06-29T12:48:39.472" v="1762" actId="164"/>
          <ac:spMkLst>
            <pc:docMk/>
            <pc:sldMk cId="1414803149" sldId="2066"/>
            <ac:spMk id="9" creationId="{0D6EEEAF-59F2-49D3-5375-0DD04327877A}"/>
          </ac:spMkLst>
        </pc:spChg>
        <pc:spChg chg="mod">
          <ac:chgData name="Kümmerle, Markus" userId="edb588ad-b118-44cb-93b6-335b967c9009" providerId="ADAL" clId="{B82CC40D-97D3-4F7D-9D76-D5107F3005F0}" dt="2023-06-29T12:48:33.131" v="1761" actId="164"/>
          <ac:spMkLst>
            <pc:docMk/>
            <pc:sldMk cId="1414803149" sldId="2066"/>
            <ac:spMk id="10" creationId="{6AEF91AC-2D8D-6373-63B4-C12FA8C9C454}"/>
          </ac:spMkLst>
        </pc:spChg>
        <pc:spChg chg="mod">
          <ac:chgData name="Kümmerle, Markus" userId="edb588ad-b118-44cb-93b6-335b967c9009" providerId="ADAL" clId="{B82CC40D-97D3-4F7D-9D76-D5107F3005F0}" dt="2023-06-29T12:48:33.131" v="1761" actId="164"/>
          <ac:spMkLst>
            <pc:docMk/>
            <pc:sldMk cId="1414803149" sldId="2066"/>
            <ac:spMk id="11" creationId="{2F8A97D2-E6CD-88F2-BCEC-11E3AD001192}"/>
          </ac:spMkLst>
        </pc:spChg>
        <pc:spChg chg="mod">
          <ac:chgData name="Kümmerle, Markus" userId="edb588ad-b118-44cb-93b6-335b967c9009" providerId="ADAL" clId="{B82CC40D-97D3-4F7D-9D76-D5107F3005F0}" dt="2023-06-29T12:48:50.144" v="1764" actId="164"/>
          <ac:spMkLst>
            <pc:docMk/>
            <pc:sldMk cId="1414803149" sldId="2066"/>
            <ac:spMk id="12" creationId="{45E45698-43DF-6570-5E0F-761D74199BF8}"/>
          </ac:spMkLst>
        </pc:spChg>
        <pc:spChg chg="mod">
          <ac:chgData name="Kümmerle, Markus" userId="edb588ad-b118-44cb-93b6-335b967c9009" providerId="ADAL" clId="{B82CC40D-97D3-4F7D-9D76-D5107F3005F0}" dt="2023-06-29T12:48:50.144" v="1764" actId="164"/>
          <ac:spMkLst>
            <pc:docMk/>
            <pc:sldMk cId="1414803149" sldId="2066"/>
            <ac:spMk id="13" creationId="{4DCBD1BB-4218-0CAD-6D74-CE1450106985}"/>
          </ac:spMkLst>
        </pc:spChg>
        <pc:spChg chg="mod">
          <ac:chgData name="Kümmerle, Markus" userId="edb588ad-b118-44cb-93b6-335b967c9009" providerId="ADAL" clId="{B82CC40D-97D3-4F7D-9D76-D5107F3005F0}" dt="2023-06-29T12:48:39.472" v="1762" actId="164"/>
          <ac:spMkLst>
            <pc:docMk/>
            <pc:sldMk cId="1414803149" sldId="2066"/>
            <ac:spMk id="14" creationId="{D0BD93B7-6F02-38FE-212E-B5265A99144C}"/>
          </ac:spMkLst>
        </pc:spChg>
        <pc:spChg chg="mod">
          <ac:chgData name="Kümmerle, Markus" userId="edb588ad-b118-44cb-93b6-335b967c9009" providerId="ADAL" clId="{B82CC40D-97D3-4F7D-9D76-D5107F3005F0}" dt="2023-06-29T12:48:55.239" v="1765" actId="164"/>
          <ac:spMkLst>
            <pc:docMk/>
            <pc:sldMk cId="1414803149" sldId="2066"/>
            <ac:spMk id="15" creationId="{6C81E43A-A42E-3537-BBC3-A51E34120375}"/>
          </ac:spMkLst>
        </pc:spChg>
        <pc:spChg chg="mod">
          <ac:chgData name="Kümmerle, Markus" userId="edb588ad-b118-44cb-93b6-335b967c9009" providerId="ADAL" clId="{B82CC40D-97D3-4F7D-9D76-D5107F3005F0}" dt="2023-06-29T12:48:50.144" v="1764" actId="164"/>
          <ac:spMkLst>
            <pc:docMk/>
            <pc:sldMk cId="1414803149" sldId="2066"/>
            <ac:spMk id="16" creationId="{34B33FF2-7C22-61F1-97AF-BAA2A65A59C8}"/>
          </ac:spMkLst>
        </pc:spChg>
        <pc:spChg chg="mod">
          <ac:chgData name="Kümmerle, Markus" userId="edb588ad-b118-44cb-93b6-335b967c9009" providerId="ADAL" clId="{B82CC40D-97D3-4F7D-9D76-D5107F3005F0}" dt="2023-06-29T12:48:33.131" v="1761" actId="164"/>
          <ac:spMkLst>
            <pc:docMk/>
            <pc:sldMk cId="1414803149" sldId="2066"/>
            <ac:spMk id="17" creationId="{B3F08F68-DA1E-63ED-6BD4-AE58E9E690E6}"/>
          </ac:spMkLst>
        </pc:spChg>
        <pc:spChg chg="mod">
          <ac:chgData name="Kümmerle, Markus" userId="edb588ad-b118-44cb-93b6-335b967c9009" providerId="ADAL" clId="{B82CC40D-97D3-4F7D-9D76-D5107F3005F0}" dt="2023-06-29T12:48:39.472" v="1762" actId="164"/>
          <ac:spMkLst>
            <pc:docMk/>
            <pc:sldMk cId="1414803149" sldId="2066"/>
            <ac:spMk id="18" creationId="{0485D834-CF74-83D2-FD8F-CEEAB6E45B49}"/>
          </ac:spMkLst>
        </pc:spChg>
        <pc:spChg chg="mod">
          <ac:chgData name="Kümmerle, Markus" userId="edb588ad-b118-44cb-93b6-335b967c9009" providerId="ADAL" clId="{B82CC40D-97D3-4F7D-9D76-D5107F3005F0}" dt="2023-06-29T12:48:33.131" v="1761" actId="164"/>
          <ac:spMkLst>
            <pc:docMk/>
            <pc:sldMk cId="1414803149" sldId="2066"/>
            <ac:spMk id="19" creationId="{CFA1CDE9-EEE8-135D-531C-EAC4CA999B8F}"/>
          </ac:spMkLst>
        </pc:spChg>
        <pc:spChg chg="mod">
          <ac:chgData name="Kümmerle, Markus" userId="edb588ad-b118-44cb-93b6-335b967c9009" providerId="ADAL" clId="{B82CC40D-97D3-4F7D-9D76-D5107F3005F0}" dt="2023-06-29T12:48:45.409" v="1763" actId="164"/>
          <ac:spMkLst>
            <pc:docMk/>
            <pc:sldMk cId="1414803149" sldId="2066"/>
            <ac:spMk id="20" creationId="{759D194B-25AF-99A1-7D7B-1AD74CBBB6EC}"/>
          </ac:spMkLst>
        </pc:spChg>
        <pc:spChg chg="mod">
          <ac:chgData name="Kümmerle, Markus" userId="edb588ad-b118-44cb-93b6-335b967c9009" providerId="ADAL" clId="{B82CC40D-97D3-4F7D-9D76-D5107F3005F0}" dt="2023-06-29T12:48:33.131" v="1761" actId="164"/>
          <ac:spMkLst>
            <pc:docMk/>
            <pc:sldMk cId="1414803149" sldId="2066"/>
            <ac:spMk id="21" creationId="{701DDB0A-4059-8256-CCFA-93B9239BC88C}"/>
          </ac:spMkLst>
        </pc:spChg>
        <pc:spChg chg="mod">
          <ac:chgData name="Kümmerle, Markus" userId="edb588ad-b118-44cb-93b6-335b967c9009" providerId="ADAL" clId="{B82CC40D-97D3-4F7D-9D76-D5107F3005F0}" dt="2023-06-29T12:48:39.472" v="1762" actId="164"/>
          <ac:spMkLst>
            <pc:docMk/>
            <pc:sldMk cId="1414803149" sldId="2066"/>
            <ac:spMk id="22" creationId="{35C06FC1-15AE-7C1B-742C-9C41D3B88954}"/>
          </ac:spMkLst>
        </pc:spChg>
        <pc:spChg chg="mod">
          <ac:chgData name="Kümmerle, Markus" userId="edb588ad-b118-44cb-93b6-335b967c9009" providerId="ADAL" clId="{B82CC40D-97D3-4F7D-9D76-D5107F3005F0}" dt="2023-06-29T12:48:50.144" v="1764" actId="164"/>
          <ac:spMkLst>
            <pc:docMk/>
            <pc:sldMk cId="1414803149" sldId="2066"/>
            <ac:spMk id="23" creationId="{6E70D4FB-3C7D-B377-45FE-02979E0D3AD6}"/>
          </ac:spMkLst>
        </pc:spChg>
        <pc:spChg chg="mod">
          <ac:chgData name="Kümmerle, Markus" userId="edb588ad-b118-44cb-93b6-335b967c9009" providerId="ADAL" clId="{B82CC40D-97D3-4F7D-9D76-D5107F3005F0}" dt="2023-06-29T12:48:55.239" v="1765" actId="164"/>
          <ac:spMkLst>
            <pc:docMk/>
            <pc:sldMk cId="1414803149" sldId="2066"/>
            <ac:spMk id="24" creationId="{8297DF00-C5F8-AFC2-7F3E-B784CC682D6A}"/>
          </ac:spMkLst>
        </pc:spChg>
        <pc:spChg chg="mod">
          <ac:chgData name="Kümmerle, Markus" userId="edb588ad-b118-44cb-93b6-335b967c9009" providerId="ADAL" clId="{B82CC40D-97D3-4F7D-9D76-D5107F3005F0}" dt="2023-06-29T12:48:33.131" v="1761" actId="164"/>
          <ac:spMkLst>
            <pc:docMk/>
            <pc:sldMk cId="1414803149" sldId="2066"/>
            <ac:spMk id="25" creationId="{DFE183D6-74BB-D456-824E-B879A9B2D4FE}"/>
          </ac:spMkLst>
        </pc:spChg>
        <pc:spChg chg="mod">
          <ac:chgData name="Kümmerle, Markus" userId="edb588ad-b118-44cb-93b6-335b967c9009" providerId="ADAL" clId="{B82CC40D-97D3-4F7D-9D76-D5107F3005F0}" dt="2023-06-29T12:48:39.472" v="1762" actId="164"/>
          <ac:spMkLst>
            <pc:docMk/>
            <pc:sldMk cId="1414803149" sldId="2066"/>
            <ac:spMk id="26" creationId="{E78C5FD0-2CE6-6D5F-9079-DD17612D3961}"/>
          </ac:spMkLst>
        </pc:spChg>
        <pc:spChg chg="mod">
          <ac:chgData name="Kümmerle, Markus" userId="edb588ad-b118-44cb-93b6-335b967c9009" providerId="ADAL" clId="{B82CC40D-97D3-4F7D-9D76-D5107F3005F0}" dt="2023-06-29T12:48:45.409" v="1763" actId="164"/>
          <ac:spMkLst>
            <pc:docMk/>
            <pc:sldMk cId="1414803149" sldId="2066"/>
            <ac:spMk id="27" creationId="{4B3AD2FD-68A1-CBB8-2367-AD5A328A624D}"/>
          </ac:spMkLst>
        </pc:spChg>
        <pc:spChg chg="mod">
          <ac:chgData name="Kümmerle, Markus" userId="edb588ad-b118-44cb-93b6-335b967c9009" providerId="ADAL" clId="{B82CC40D-97D3-4F7D-9D76-D5107F3005F0}" dt="2023-06-29T12:48:55.239" v="1765" actId="164"/>
          <ac:spMkLst>
            <pc:docMk/>
            <pc:sldMk cId="1414803149" sldId="2066"/>
            <ac:spMk id="28" creationId="{3A006A04-C33B-3870-696B-9EA4B0611EDF}"/>
          </ac:spMkLst>
        </pc:spChg>
        <pc:spChg chg="mod">
          <ac:chgData name="Kümmerle, Markus" userId="edb588ad-b118-44cb-93b6-335b967c9009" providerId="ADAL" clId="{B82CC40D-97D3-4F7D-9D76-D5107F3005F0}" dt="2023-06-29T12:48:55.239" v="1765" actId="164"/>
          <ac:spMkLst>
            <pc:docMk/>
            <pc:sldMk cId="1414803149" sldId="2066"/>
            <ac:spMk id="29" creationId="{6129EC0F-909D-8899-A129-A565F0F10C69}"/>
          </ac:spMkLst>
        </pc:spChg>
        <pc:spChg chg="add mod">
          <ac:chgData name="Kümmerle, Markus" userId="edb588ad-b118-44cb-93b6-335b967c9009" providerId="ADAL" clId="{B82CC40D-97D3-4F7D-9D76-D5107F3005F0}" dt="2023-06-29T12:48:33.131" v="1761" actId="164"/>
          <ac:spMkLst>
            <pc:docMk/>
            <pc:sldMk cId="1414803149" sldId="2066"/>
            <ac:spMk id="30" creationId="{38D399EE-9C2C-0432-3983-CF005C7C9FF0}"/>
          </ac:spMkLst>
        </pc:spChg>
        <pc:spChg chg="add mod">
          <ac:chgData name="Kümmerle, Markus" userId="edb588ad-b118-44cb-93b6-335b967c9009" providerId="ADAL" clId="{B82CC40D-97D3-4F7D-9D76-D5107F3005F0}" dt="2023-06-29T12:48:45.409" v="1763" actId="164"/>
          <ac:spMkLst>
            <pc:docMk/>
            <pc:sldMk cId="1414803149" sldId="2066"/>
            <ac:spMk id="31" creationId="{75599883-A142-C2DA-D71D-CD2688BE7EB4}"/>
          </ac:spMkLst>
        </pc:spChg>
        <pc:spChg chg="add mod">
          <ac:chgData name="Kümmerle, Markus" userId="edb588ad-b118-44cb-93b6-335b967c9009" providerId="ADAL" clId="{B82CC40D-97D3-4F7D-9D76-D5107F3005F0}" dt="2023-07-17T06:10:33.254" v="1907" actId="20577"/>
          <ac:spMkLst>
            <pc:docMk/>
            <pc:sldMk cId="1414803149" sldId="2066"/>
            <ac:spMk id="32" creationId="{2195EE94-68F9-6F60-9E24-CA2616ACD82B}"/>
          </ac:spMkLst>
        </pc:spChg>
        <pc:spChg chg="add del mod modVis">
          <ac:chgData name="Kümmerle, Markus" userId="edb588ad-b118-44cb-93b6-335b967c9009" providerId="ADAL" clId="{B82CC40D-97D3-4F7D-9D76-D5107F3005F0}" dt="2023-06-29T12:39:12.810" v="1569"/>
          <ac:spMkLst>
            <pc:docMk/>
            <pc:sldMk cId="1414803149" sldId="2066"/>
            <ac:spMk id="33" creationId="{63C1F220-3E1E-2730-6A76-FEC10936341E}"/>
          </ac:spMkLst>
        </pc:spChg>
        <pc:spChg chg="add del mod modVis">
          <ac:chgData name="Kümmerle, Markus" userId="edb588ad-b118-44cb-93b6-335b967c9009" providerId="ADAL" clId="{B82CC40D-97D3-4F7D-9D76-D5107F3005F0}" dt="2023-06-29T12:39:15.273" v="1602"/>
          <ac:spMkLst>
            <pc:docMk/>
            <pc:sldMk cId="1414803149" sldId="2066"/>
            <ac:spMk id="34" creationId="{18BA3007-CD0C-F2A1-F842-099F7F95AB4A}"/>
          </ac:spMkLst>
        </pc:spChg>
        <pc:grpChg chg="add mod">
          <ac:chgData name="Kümmerle, Markus" userId="edb588ad-b118-44cb-93b6-335b967c9009" providerId="ADAL" clId="{B82CC40D-97D3-4F7D-9D76-D5107F3005F0}" dt="2023-06-29T12:49:21.754" v="1782" actId="1036"/>
          <ac:grpSpMkLst>
            <pc:docMk/>
            <pc:sldMk cId="1414803149" sldId="2066"/>
            <ac:grpSpMk id="35" creationId="{0D76DC81-0E40-FFE4-E5DA-819D3A896C33}"/>
          </ac:grpSpMkLst>
        </pc:grpChg>
        <pc:grpChg chg="add mod">
          <ac:chgData name="Kümmerle, Markus" userId="edb588ad-b118-44cb-93b6-335b967c9009" providerId="ADAL" clId="{B82CC40D-97D3-4F7D-9D76-D5107F3005F0}" dt="2023-06-29T12:49:21.754" v="1782" actId="1036"/>
          <ac:grpSpMkLst>
            <pc:docMk/>
            <pc:sldMk cId="1414803149" sldId="2066"/>
            <ac:grpSpMk id="36" creationId="{25583B95-FF95-AB0D-A90C-9EE8198BC159}"/>
          </ac:grpSpMkLst>
        </pc:grpChg>
        <pc:grpChg chg="add mod">
          <ac:chgData name="Kümmerle, Markus" userId="edb588ad-b118-44cb-93b6-335b967c9009" providerId="ADAL" clId="{B82CC40D-97D3-4F7D-9D76-D5107F3005F0}" dt="2023-06-29T12:49:21.754" v="1782" actId="1036"/>
          <ac:grpSpMkLst>
            <pc:docMk/>
            <pc:sldMk cId="1414803149" sldId="2066"/>
            <ac:grpSpMk id="37" creationId="{8D432A09-A6D3-BFFE-46D3-A46B0EA0C629}"/>
          </ac:grpSpMkLst>
        </pc:grpChg>
        <pc:grpChg chg="add mod">
          <ac:chgData name="Kümmerle, Markus" userId="edb588ad-b118-44cb-93b6-335b967c9009" providerId="ADAL" clId="{B82CC40D-97D3-4F7D-9D76-D5107F3005F0}" dt="2023-06-29T12:49:21.754" v="1782" actId="1036"/>
          <ac:grpSpMkLst>
            <pc:docMk/>
            <pc:sldMk cId="1414803149" sldId="2066"/>
            <ac:grpSpMk id="38" creationId="{60F4A73B-CDCB-F1A2-2A6F-E654BC1ACEFC}"/>
          </ac:grpSpMkLst>
        </pc:grpChg>
        <pc:grpChg chg="add mod">
          <ac:chgData name="Kümmerle, Markus" userId="edb588ad-b118-44cb-93b6-335b967c9009" providerId="ADAL" clId="{B82CC40D-97D3-4F7D-9D76-D5107F3005F0}" dt="2023-06-29T12:49:21.754" v="1782" actId="1036"/>
          <ac:grpSpMkLst>
            <pc:docMk/>
            <pc:sldMk cId="1414803149" sldId="2066"/>
            <ac:grpSpMk id="39" creationId="{270B3F21-D87D-306F-4E11-EFFBD4549926}"/>
          </ac:grpSpMkLst>
        </pc:grpChg>
        <pc:graphicFrameChg chg="mod">
          <ac:chgData name="Kümmerle, Markus" userId="edb588ad-b118-44cb-93b6-335b967c9009" providerId="ADAL" clId="{B82CC40D-97D3-4F7D-9D76-D5107F3005F0}" dt="2023-06-29T12:39:15.276" v="1604"/>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B82CC40D-97D3-4F7D-9D76-D5107F3005F0}" dt="2023-06-15T08:14:44.239" v="465" actId="20577"/>
        <pc:sldMkLst>
          <pc:docMk/>
          <pc:sldMk cId="2879131641" sldId="2070"/>
        </pc:sldMkLst>
        <pc:spChg chg="mod">
          <ac:chgData name="Kümmerle, Markus" userId="edb588ad-b118-44cb-93b6-335b967c9009" providerId="ADAL" clId="{B82CC40D-97D3-4F7D-9D76-D5107F3005F0}" dt="2023-06-15T08:14:44.239" v="465" actId="20577"/>
          <ac:spMkLst>
            <pc:docMk/>
            <pc:sldMk cId="2879131641" sldId="2070"/>
            <ac:spMk id="5" creationId="{2D5D4C98-4CFB-3797-212E-2EF2AF59F914}"/>
          </ac:spMkLst>
        </pc:spChg>
      </pc:sldChg>
      <pc:sldChg chg="addSp delSp modSp new add mod">
        <pc:chgData name="Kümmerle, Markus" userId="edb588ad-b118-44cb-93b6-335b967c9009" providerId="ADAL" clId="{B82CC40D-97D3-4F7D-9D76-D5107F3005F0}" dt="2023-06-15T08:06:08.145" v="446"/>
        <pc:sldMkLst>
          <pc:docMk/>
          <pc:sldMk cId="1596432086" sldId="2071"/>
        </pc:sldMkLst>
        <pc:spChg chg="mod">
          <ac:chgData name="Kümmerle, Markus" userId="edb588ad-b118-44cb-93b6-335b967c9009" providerId="ADAL" clId="{B82CC40D-97D3-4F7D-9D76-D5107F3005F0}" dt="2023-06-15T08:06:08.065" v="421" actId="948"/>
          <ac:spMkLst>
            <pc:docMk/>
            <pc:sldMk cId="1596432086" sldId="2071"/>
            <ac:spMk id="2" creationId="{522AAE0A-A4E7-EAE3-A17A-A6536C3CE595}"/>
          </ac:spMkLst>
        </pc:spChg>
        <pc:spChg chg="del">
          <ac:chgData name="Kümmerle, Markus" userId="edb588ad-b118-44cb-93b6-335b967c9009" providerId="ADAL" clId="{B82CC40D-97D3-4F7D-9D76-D5107F3005F0}" dt="2023-06-14T12:48:18.578" v="74" actId="478"/>
          <ac:spMkLst>
            <pc:docMk/>
            <pc:sldMk cId="1596432086" sldId="2071"/>
            <ac:spMk id="3" creationId="{45FA1B7E-7A42-C30C-631A-87B5B2844170}"/>
          </ac:spMkLst>
        </pc:spChg>
        <pc:spChg chg="add mod">
          <ac:chgData name="Kümmerle, Markus" userId="edb588ad-b118-44cb-93b6-335b967c9009" providerId="ADAL" clId="{B82CC40D-97D3-4F7D-9D76-D5107F3005F0}" dt="2023-06-14T12:48:35.143" v="77" actId="2711"/>
          <ac:spMkLst>
            <pc:docMk/>
            <pc:sldMk cId="1596432086" sldId="2071"/>
            <ac:spMk id="4" creationId="{5381FE7F-E2D1-FA08-C8F7-705D0BF12B5C}"/>
          </ac:spMkLst>
        </pc:spChg>
        <pc:spChg chg="add mod">
          <ac:chgData name="Kümmerle, Markus" userId="edb588ad-b118-44cb-93b6-335b967c9009" providerId="ADAL" clId="{B82CC40D-97D3-4F7D-9D76-D5107F3005F0}" dt="2023-06-14T12:48:35.143" v="77" actId="2711"/>
          <ac:spMkLst>
            <pc:docMk/>
            <pc:sldMk cId="1596432086" sldId="2071"/>
            <ac:spMk id="5" creationId="{47591CE7-9F62-19D4-3E29-03F2B9811230}"/>
          </ac:spMkLst>
        </pc:spChg>
        <pc:spChg chg="add mod">
          <ac:chgData name="Kümmerle, Markus" userId="edb588ad-b118-44cb-93b6-335b967c9009" providerId="ADAL" clId="{B82CC40D-97D3-4F7D-9D76-D5107F3005F0}" dt="2023-06-14T12:48:35.143" v="77" actId="2711"/>
          <ac:spMkLst>
            <pc:docMk/>
            <pc:sldMk cId="1596432086" sldId="2071"/>
            <ac:spMk id="6" creationId="{D45EABAC-A505-6CB3-5A83-9D6518FF4D8B}"/>
          </ac:spMkLst>
        </pc:spChg>
        <pc:spChg chg="add mod">
          <ac:chgData name="Kümmerle, Markus" userId="edb588ad-b118-44cb-93b6-335b967c9009" providerId="ADAL" clId="{B82CC40D-97D3-4F7D-9D76-D5107F3005F0}" dt="2023-06-14T12:48:35.143" v="77" actId="2711"/>
          <ac:spMkLst>
            <pc:docMk/>
            <pc:sldMk cId="1596432086" sldId="2071"/>
            <ac:spMk id="11" creationId="{EF1DCD64-9F85-51CA-9633-6A9131F603DB}"/>
          </ac:spMkLst>
        </pc:spChg>
        <pc:spChg chg="add mod">
          <ac:chgData name="Kümmerle, Markus" userId="edb588ad-b118-44cb-93b6-335b967c9009" providerId="ADAL" clId="{B82CC40D-97D3-4F7D-9D76-D5107F3005F0}" dt="2023-06-14T13:57:25.014" v="392" actId="20577"/>
          <ac:spMkLst>
            <pc:docMk/>
            <pc:sldMk cId="1596432086" sldId="2071"/>
            <ac:spMk id="13" creationId="{47EF9821-6B40-96BE-F601-452793392B6F}"/>
          </ac:spMkLst>
        </pc:spChg>
        <pc:spChg chg="add mod">
          <ac:chgData name="Kümmerle, Markus" userId="edb588ad-b118-44cb-93b6-335b967c9009" providerId="ADAL" clId="{B82CC40D-97D3-4F7D-9D76-D5107F3005F0}" dt="2023-06-14T13:57:16.158" v="385" actId="20577"/>
          <ac:spMkLst>
            <pc:docMk/>
            <pc:sldMk cId="1596432086" sldId="2071"/>
            <ac:spMk id="14" creationId="{6D3E3D75-1EE0-FD8E-ADB0-762B4BD2E1F9}"/>
          </ac:spMkLst>
        </pc:spChg>
        <pc:spChg chg="add del mod modVis">
          <ac:chgData name="Kümmerle, Markus" userId="edb588ad-b118-44cb-93b6-335b967c9009" providerId="ADAL" clId="{B82CC40D-97D3-4F7D-9D76-D5107F3005F0}" dt="2023-06-14T12:48:52.294" v="102"/>
          <ac:spMkLst>
            <pc:docMk/>
            <pc:sldMk cId="1596432086" sldId="2071"/>
            <ac:spMk id="16" creationId="{0BF3CC4F-1EBC-1AE9-6A46-2EEB8446BB01}"/>
          </ac:spMkLst>
        </pc:spChg>
        <pc:spChg chg="add del mod modVis">
          <ac:chgData name="Kümmerle, Markus" userId="edb588ad-b118-44cb-93b6-335b967c9009" providerId="ADAL" clId="{B82CC40D-97D3-4F7D-9D76-D5107F3005F0}" dt="2023-06-15T08:06:08.133" v="444"/>
          <ac:spMkLst>
            <pc:docMk/>
            <pc:sldMk cId="1596432086" sldId="2071"/>
            <ac:spMk id="18" creationId="{CEA0E0C9-B399-69E9-EA3D-CE0EC9F9B55D}"/>
          </ac:spMkLst>
        </pc:spChg>
        <pc:graphicFrameChg chg="add mod ord modVis replST">
          <ac:chgData name="Kümmerle, Markus" userId="edb588ad-b118-44cb-93b6-335b967c9009" providerId="ADAL" clId="{B82CC40D-97D3-4F7D-9D76-D5107F3005F0}" dt="2023-06-15T08:06:08.145" v="446"/>
          <ac:graphicFrameMkLst>
            <pc:docMk/>
            <pc:sldMk cId="1596432086" sldId="2071"/>
            <ac:graphicFrameMk id="17" creationId="{A4C9B982-3FB3-A695-9B89-8EDA71A2E5AE}"/>
          </ac:graphicFrameMkLst>
        </pc:graphicFrameChg>
        <pc:picChg chg="add mod">
          <ac:chgData name="Kümmerle, Markus" userId="edb588ad-b118-44cb-93b6-335b967c9009" providerId="ADAL" clId="{B82CC40D-97D3-4F7D-9D76-D5107F3005F0}" dt="2023-06-14T12:48:24.551" v="76" actId="1076"/>
          <ac:picMkLst>
            <pc:docMk/>
            <pc:sldMk cId="1596432086" sldId="2071"/>
            <ac:picMk id="7" creationId="{61E0EF97-7B16-60C6-41A3-7E1BBC9BB4E2}"/>
          </ac:picMkLst>
        </pc:picChg>
        <pc:picChg chg="add mod">
          <ac:chgData name="Kümmerle, Markus" userId="edb588ad-b118-44cb-93b6-335b967c9009" providerId="ADAL" clId="{B82CC40D-97D3-4F7D-9D76-D5107F3005F0}" dt="2023-06-14T12:48:24.551" v="76" actId="1076"/>
          <ac:picMkLst>
            <pc:docMk/>
            <pc:sldMk cId="1596432086" sldId="2071"/>
            <ac:picMk id="8" creationId="{A0F70CDB-274E-925C-8497-C922D63DB8AF}"/>
          </ac:picMkLst>
        </pc:picChg>
        <pc:picChg chg="add mod">
          <ac:chgData name="Kümmerle, Markus" userId="edb588ad-b118-44cb-93b6-335b967c9009" providerId="ADAL" clId="{B82CC40D-97D3-4F7D-9D76-D5107F3005F0}" dt="2023-06-14T12:48:24.551" v="76" actId="1076"/>
          <ac:picMkLst>
            <pc:docMk/>
            <pc:sldMk cId="1596432086" sldId="2071"/>
            <ac:picMk id="9" creationId="{18CDE953-362F-DA62-E76E-A49BA473AB9B}"/>
          </ac:picMkLst>
        </pc:picChg>
        <pc:picChg chg="add mod">
          <ac:chgData name="Kümmerle, Markus" userId="edb588ad-b118-44cb-93b6-335b967c9009" providerId="ADAL" clId="{B82CC40D-97D3-4F7D-9D76-D5107F3005F0}" dt="2023-06-14T12:48:24.551" v="76" actId="1076"/>
          <ac:picMkLst>
            <pc:docMk/>
            <pc:sldMk cId="1596432086" sldId="2071"/>
            <ac:picMk id="10" creationId="{570D393B-4062-92ED-16AD-0A1B1C8FBD15}"/>
          </ac:picMkLst>
        </pc:picChg>
        <pc:picChg chg="add mod">
          <ac:chgData name="Kümmerle, Markus" userId="edb588ad-b118-44cb-93b6-335b967c9009" providerId="ADAL" clId="{B82CC40D-97D3-4F7D-9D76-D5107F3005F0}" dt="2023-06-14T12:48:24.551" v="76" actId="1076"/>
          <ac:picMkLst>
            <pc:docMk/>
            <pc:sldMk cId="1596432086" sldId="2071"/>
            <ac:picMk id="12" creationId="{AAE98319-A61E-5A0B-0CB3-8CC729EB23E5}"/>
          </ac:picMkLst>
        </pc:picChg>
        <pc:picChg chg="add mod">
          <ac:chgData name="Kümmerle, Markus" userId="edb588ad-b118-44cb-93b6-335b967c9009" providerId="ADAL" clId="{B82CC40D-97D3-4F7D-9D76-D5107F3005F0}" dt="2023-06-14T12:48:24.551" v="76" actId="1076"/>
          <ac:picMkLst>
            <pc:docMk/>
            <pc:sldMk cId="1596432086" sldId="2071"/>
            <ac:picMk id="15" creationId="{3971D4E5-CFD9-2C45-F2D7-7C7F784105B1}"/>
          </ac:picMkLst>
        </pc:picChg>
      </pc:sldChg>
      <pc:sldChg chg="addSp delSp modSp add mod">
        <pc:chgData name="Kümmerle, Markus" userId="edb588ad-b118-44cb-93b6-335b967c9009" providerId="ADAL" clId="{B82CC40D-97D3-4F7D-9D76-D5107F3005F0}" dt="2023-06-29T12:38:20.507" v="1325"/>
        <pc:sldMkLst>
          <pc:docMk/>
          <pc:sldMk cId="2341001669" sldId="2072"/>
        </pc:sldMkLst>
        <pc:spChg chg="mod">
          <ac:chgData name="Kümmerle, Markus" userId="edb588ad-b118-44cb-93b6-335b967c9009" providerId="ADAL" clId="{B82CC40D-97D3-4F7D-9D76-D5107F3005F0}" dt="2023-06-29T12:38:20.460" v="1300" actId="948"/>
          <ac:spMkLst>
            <pc:docMk/>
            <pc:sldMk cId="2341001669" sldId="2072"/>
            <ac:spMk id="2" creationId="{522AAE0A-A4E7-EAE3-A17A-A6536C3CE595}"/>
          </ac:spMkLst>
        </pc:spChg>
        <pc:spChg chg="mod">
          <ac:chgData name="Kümmerle, Markus" userId="edb588ad-b118-44cb-93b6-335b967c9009" providerId="ADAL" clId="{B82CC40D-97D3-4F7D-9D76-D5107F3005F0}" dt="2023-06-14T12:50:46.433" v="166" actId="1076"/>
          <ac:spMkLst>
            <pc:docMk/>
            <pc:sldMk cId="2341001669" sldId="2072"/>
            <ac:spMk id="3" creationId="{45FA1B7E-7A42-C30C-631A-87B5B2844170}"/>
          </ac:spMkLst>
        </pc:spChg>
        <pc:spChg chg="add del mod modVis">
          <ac:chgData name="Kümmerle, Markus" userId="edb588ad-b118-44cb-93b6-335b967c9009" providerId="ADAL" clId="{B82CC40D-97D3-4F7D-9D76-D5107F3005F0}" dt="2023-06-29T12:38:20.503" v="1323"/>
          <ac:spMkLst>
            <pc:docMk/>
            <pc:sldMk cId="2341001669" sldId="2072"/>
            <ac:spMk id="4" creationId="{04A51758-524B-877E-2E95-FD26F5A45253}"/>
          </ac:spMkLst>
        </pc:spChg>
        <pc:spChg chg="add del mod modVis">
          <ac:chgData name="Kümmerle, Markus" userId="edb588ad-b118-44cb-93b6-335b967c9009" providerId="ADAL" clId="{B82CC40D-97D3-4F7D-9D76-D5107F3005F0}" dt="2023-06-14T12:49:58.506" v="145"/>
          <ac:spMkLst>
            <pc:docMk/>
            <pc:sldMk cId="2341001669" sldId="2072"/>
            <ac:spMk id="4" creationId="{D750EFCB-DC01-D0E3-1AFC-F1815FEC7752}"/>
          </ac:spMkLst>
        </pc:spChg>
        <pc:grpChg chg="add mod">
          <ac:chgData name="Kümmerle, Markus" userId="edb588ad-b118-44cb-93b6-335b967c9009" providerId="ADAL" clId="{B82CC40D-97D3-4F7D-9D76-D5107F3005F0}" dt="2023-06-14T12:50:21.925" v="163"/>
          <ac:grpSpMkLst>
            <pc:docMk/>
            <pc:sldMk cId="2341001669" sldId="2072"/>
            <ac:grpSpMk id="6" creationId="{95669FCE-F718-788F-7678-31D30885BC63}"/>
          </ac:grpSpMkLst>
        </pc:grpChg>
        <pc:graphicFrameChg chg="add mod ord modVis replST">
          <ac:chgData name="Kümmerle, Markus" userId="edb588ad-b118-44cb-93b6-335b967c9009" providerId="ADAL" clId="{B82CC40D-97D3-4F7D-9D76-D5107F3005F0}" dt="2023-06-29T12:38:20.507" v="1325"/>
          <ac:graphicFrameMkLst>
            <pc:docMk/>
            <pc:sldMk cId="2341001669" sldId="2072"/>
            <ac:graphicFrameMk id="5" creationId="{5DE6ABD7-6439-BAEB-DDB5-CF531A95F273}"/>
          </ac:graphicFrameMkLst>
        </pc:graphicFrameChg>
        <pc:picChg chg="mod">
          <ac:chgData name="Kümmerle, Markus" userId="edb588ad-b118-44cb-93b6-335b967c9009" providerId="ADAL" clId="{B82CC40D-97D3-4F7D-9D76-D5107F3005F0}" dt="2023-06-14T12:50:21.925" v="163"/>
          <ac:picMkLst>
            <pc:docMk/>
            <pc:sldMk cId="2341001669" sldId="2072"/>
            <ac:picMk id="7" creationId="{F007D0C3-ED47-CAAD-A068-248862968FBF}"/>
          </ac:picMkLst>
        </pc:picChg>
        <pc:picChg chg="mod">
          <ac:chgData name="Kümmerle, Markus" userId="edb588ad-b118-44cb-93b6-335b967c9009" providerId="ADAL" clId="{B82CC40D-97D3-4F7D-9D76-D5107F3005F0}" dt="2023-06-14T12:50:21.925" v="163"/>
          <ac:picMkLst>
            <pc:docMk/>
            <pc:sldMk cId="2341001669" sldId="2072"/>
            <ac:picMk id="8" creationId="{CD169C30-D38A-90F8-677D-56D76A4D1FC5}"/>
          </ac:picMkLst>
        </pc:picChg>
        <pc:picChg chg="mod">
          <ac:chgData name="Kümmerle, Markus" userId="edb588ad-b118-44cb-93b6-335b967c9009" providerId="ADAL" clId="{B82CC40D-97D3-4F7D-9D76-D5107F3005F0}" dt="2023-06-14T12:50:21.925" v="163"/>
          <ac:picMkLst>
            <pc:docMk/>
            <pc:sldMk cId="2341001669" sldId="2072"/>
            <ac:picMk id="9" creationId="{FB8909FD-3FC2-23E7-8675-7E2741EF5A5B}"/>
          </ac:picMkLst>
        </pc:picChg>
        <pc:picChg chg="mod">
          <ac:chgData name="Kümmerle, Markus" userId="edb588ad-b118-44cb-93b6-335b967c9009" providerId="ADAL" clId="{B82CC40D-97D3-4F7D-9D76-D5107F3005F0}" dt="2023-06-14T12:50:21.925" v="163"/>
          <ac:picMkLst>
            <pc:docMk/>
            <pc:sldMk cId="2341001669" sldId="2072"/>
            <ac:picMk id="10" creationId="{FF96D391-1C14-01A6-906B-B7A37AA09063}"/>
          </ac:picMkLst>
        </pc:picChg>
        <pc:picChg chg="mod">
          <ac:chgData name="Kümmerle, Markus" userId="edb588ad-b118-44cb-93b6-335b967c9009" providerId="ADAL" clId="{B82CC40D-97D3-4F7D-9D76-D5107F3005F0}" dt="2023-06-14T12:50:21.925" v="163"/>
          <ac:picMkLst>
            <pc:docMk/>
            <pc:sldMk cId="2341001669" sldId="2072"/>
            <ac:picMk id="11" creationId="{5AC253EF-4694-98FF-A95A-315C423D8BE9}"/>
          </ac:picMkLst>
        </pc:picChg>
        <pc:picChg chg="mod">
          <ac:chgData name="Kümmerle, Markus" userId="edb588ad-b118-44cb-93b6-335b967c9009" providerId="ADAL" clId="{B82CC40D-97D3-4F7D-9D76-D5107F3005F0}" dt="2023-06-14T12:50:21.925" v="163"/>
          <ac:picMkLst>
            <pc:docMk/>
            <pc:sldMk cId="2341001669" sldId="2072"/>
            <ac:picMk id="12" creationId="{475D4F8F-0A4C-B45B-A675-341421F83CA9}"/>
          </ac:picMkLst>
        </pc:picChg>
        <pc:picChg chg="mod">
          <ac:chgData name="Kümmerle, Markus" userId="edb588ad-b118-44cb-93b6-335b967c9009" providerId="ADAL" clId="{B82CC40D-97D3-4F7D-9D76-D5107F3005F0}" dt="2023-06-14T12:50:21.925" v="163"/>
          <ac:picMkLst>
            <pc:docMk/>
            <pc:sldMk cId="2341001669" sldId="2072"/>
            <ac:picMk id="13" creationId="{E5BAF327-EA27-0F65-AEF7-4223E6704628}"/>
          </ac:picMkLst>
        </pc:picChg>
        <pc:picChg chg="mod">
          <ac:chgData name="Kümmerle, Markus" userId="edb588ad-b118-44cb-93b6-335b967c9009" providerId="ADAL" clId="{B82CC40D-97D3-4F7D-9D76-D5107F3005F0}" dt="2023-06-14T12:50:21.925" v="163"/>
          <ac:picMkLst>
            <pc:docMk/>
            <pc:sldMk cId="2341001669" sldId="2072"/>
            <ac:picMk id="14" creationId="{4B289340-442E-0EB9-6EB1-D90971FE19EE}"/>
          </ac:picMkLst>
        </pc:picChg>
        <pc:picChg chg="mod">
          <ac:chgData name="Kümmerle, Markus" userId="edb588ad-b118-44cb-93b6-335b967c9009" providerId="ADAL" clId="{B82CC40D-97D3-4F7D-9D76-D5107F3005F0}" dt="2023-06-14T12:50:21.925" v="163"/>
          <ac:picMkLst>
            <pc:docMk/>
            <pc:sldMk cId="2341001669" sldId="2072"/>
            <ac:picMk id="15" creationId="{75E5AACC-A739-F8F0-8879-8A445AC99B58}"/>
          </ac:picMkLst>
        </pc:picChg>
        <pc:picChg chg="mod">
          <ac:chgData name="Kümmerle, Markus" userId="edb588ad-b118-44cb-93b6-335b967c9009" providerId="ADAL" clId="{B82CC40D-97D3-4F7D-9D76-D5107F3005F0}" dt="2023-06-14T12:50:21.925" v="163"/>
          <ac:picMkLst>
            <pc:docMk/>
            <pc:sldMk cId="2341001669" sldId="2072"/>
            <ac:picMk id="16" creationId="{8FAA76D7-C144-37A8-0189-B54BF677F90A}"/>
          </ac:picMkLst>
        </pc:picChg>
        <pc:picChg chg="mod">
          <ac:chgData name="Kümmerle, Markus" userId="edb588ad-b118-44cb-93b6-335b967c9009" providerId="ADAL" clId="{B82CC40D-97D3-4F7D-9D76-D5107F3005F0}" dt="2023-06-14T12:50:21.925" v="163"/>
          <ac:picMkLst>
            <pc:docMk/>
            <pc:sldMk cId="2341001669" sldId="2072"/>
            <ac:picMk id="17" creationId="{5E919702-CD91-4761-C888-6A25580C7740}"/>
          </ac:picMkLst>
        </pc:picChg>
        <pc:picChg chg="mod">
          <ac:chgData name="Kümmerle, Markus" userId="edb588ad-b118-44cb-93b6-335b967c9009" providerId="ADAL" clId="{B82CC40D-97D3-4F7D-9D76-D5107F3005F0}" dt="2023-06-14T12:50:21.925" v="163"/>
          <ac:picMkLst>
            <pc:docMk/>
            <pc:sldMk cId="2341001669" sldId="2072"/>
            <ac:picMk id="18" creationId="{7CCB86DA-63C1-C5B3-C7BF-BF82A0B775A2}"/>
          </ac:picMkLst>
        </pc:picChg>
        <pc:picChg chg="mod">
          <ac:chgData name="Kümmerle, Markus" userId="edb588ad-b118-44cb-93b6-335b967c9009" providerId="ADAL" clId="{B82CC40D-97D3-4F7D-9D76-D5107F3005F0}" dt="2023-06-14T12:50:21.925" v="163"/>
          <ac:picMkLst>
            <pc:docMk/>
            <pc:sldMk cId="2341001669" sldId="2072"/>
            <ac:picMk id="19" creationId="{609B39A9-E2D0-701A-2C60-54B92CE35F36}"/>
          </ac:picMkLst>
        </pc:picChg>
        <pc:picChg chg="mod">
          <ac:chgData name="Kümmerle, Markus" userId="edb588ad-b118-44cb-93b6-335b967c9009" providerId="ADAL" clId="{B82CC40D-97D3-4F7D-9D76-D5107F3005F0}" dt="2023-06-14T12:50:21.925" v="163"/>
          <ac:picMkLst>
            <pc:docMk/>
            <pc:sldMk cId="2341001669" sldId="2072"/>
            <ac:picMk id="20" creationId="{D38FB617-D065-5510-3CC3-590A267E300B}"/>
          </ac:picMkLst>
        </pc:picChg>
        <pc:picChg chg="mod">
          <ac:chgData name="Kümmerle, Markus" userId="edb588ad-b118-44cb-93b6-335b967c9009" providerId="ADAL" clId="{B82CC40D-97D3-4F7D-9D76-D5107F3005F0}" dt="2023-06-14T12:50:21.925" v="163"/>
          <ac:picMkLst>
            <pc:docMk/>
            <pc:sldMk cId="2341001669" sldId="2072"/>
            <ac:picMk id="21" creationId="{F8C60284-8D51-E5B5-C4C3-E85C59E0F564}"/>
          </ac:picMkLst>
        </pc:picChg>
        <pc:picChg chg="mod">
          <ac:chgData name="Kümmerle, Markus" userId="edb588ad-b118-44cb-93b6-335b967c9009" providerId="ADAL" clId="{B82CC40D-97D3-4F7D-9D76-D5107F3005F0}" dt="2023-06-14T12:50:21.925" v="163"/>
          <ac:picMkLst>
            <pc:docMk/>
            <pc:sldMk cId="2341001669" sldId="2072"/>
            <ac:picMk id="22" creationId="{21BCF608-0AF8-DC41-4283-8CE9FDE60D89}"/>
          </ac:picMkLst>
        </pc:picChg>
        <pc:picChg chg="mod">
          <ac:chgData name="Kümmerle, Markus" userId="edb588ad-b118-44cb-93b6-335b967c9009" providerId="ADAL" clId="{B82CC40D-97D3-4F7D-9D76-D5107F3005F0}" dt="2023-06-14T12:50:21.925" v="163"/>
          <ac:picMkLst>
            <pc:docMk/>
            <pc:sldMk cId="2341001669" sldId="2072"/>
            <ac:picMk id="23" creationId="{6B286A13-4070-CB04-63FF-129836E27321}"/>
          </ac:picMkLst>
        </pc:picChg>
        <pc:picChg chg="mod">
          <ac:chgData name="Kümmerle, Markus" userId="edb588ad-b118-44cb-93b6-335b967c9009" providerId="ADAL" clId="{B82CC40D-97D3-4F7D-9D76-D5107F3005F0}" dt="2023-06-14T12:50:21.925" v="163"/>
          <ac:picMkLst>
            <pc:docMk/>
            <pc:sldMk cId="2341001669" sldId="2072"/>
            <ac:picMk id="24" creationId="{FEEF30BD-8A98-5FF9-0ACA-F74FD51CF837}"/>
          </ac:picMkLst>
        </pc:picChg>
        <pc:picChg chg="mod">
          <ac:chgData name="Kümmerle, Markus" userId="edb588ad-b118-44cb-93b6-335b967c9009" providerId="ADAL" clId="{B82CC40D-97D3-4F7D-9D76-D5107F3005F0}" dt="2023-06-14T12:50:21.925" v="163"/>
          <ac:picMkLst>
            <pc:docMk/>
            <pc:sldMk cId="2341001669" sldId="2072"/>
            <ac:picMk id="25" creationId="{54ADCA74-FD40-C044-C014-11D132317A4C}"/>
          </ac:picMkLst>
        </pc:picChg>
        <pc:picChg chg="mod">
          <ac:chgData name="Kümmerle, Markus" userId="edb588ad-b118-44cb-93b6-335b967c9009" providerId="ADAL" clId="{B82CC40D-97D3-4F7D-9D76-D5107F3005F0}" dt="2023-06-14T12:50:21.925" v="163"/>
          <ac:picMkLst>
            <pc:docMk/>
            <pc:sldMk cId="2341001669" sldId="2072"/>
            <ac:picMk id="26" creationId="{44E38CC1-7079-625F-2D3E-91A13060CA53}"/>
          </ac:picMkLst>
        </pc:picChg>
        <pc:picChg chg="mod">
          <ac:chgData name="Kümmerle, Markus" userId="edb588ad-b118-44cb-93b6-335b967c9009" providerId="ADAL" clId="{B82CC40D-97D3-4F7D-9D76-D5107F3005F0}" dt="2023-06-14T12:50:21.925" v="163"/>
          <ac:picMkLst>
            <pc:docMk/>
            <pc:sldMk cId="2341001669" sldId="2072"/>
            <ac:picMk id="27" creationId="{B5970FF9-38E7-D647-9A04-DD67543810FA}"/>
          </ac:picMkLst>
        </pc:picChg>
        <pc:picChg chg="mod">
          <ac:chgData name="Kümmerle, Markus" userId="edb588ad-b118-44cb-93b6-335b967c9009" providerId="ADAL" clId="{B82CC40D-97D3-4F7D-9D76-D5107F3005F0}" dt="2023-06-14T12:50:21.925" v="163"/>
          <ac:picMkLst>
            <pc:docMk/>
            <pc:sldMk cId="2341001669" sldId="2072"/>
            <ac:picMk id="28" creationId="{F010C735-5725-47AF-5AB0-8E98578B76D0}"/>
          </ac:picMkLst>
        </pc:picChg>
      </pc:sldChg>
      <pc:sldChg chg="add del">
        <pc:chgData name="Kümmerle, Markus" userId="edb588ad-b118-44cb-93b6-335b967c9009" providerId="ADAL" clId="{B82CC40D-97D3-4F7D-9D76-D5107F3005F0}" dt="2023-06-14T12:49:30.142" v="118" actId="2696"/>
        <pc:sldMkLst>
          <pc:docMk/>
          <pc:sldMk cId="2693990293" sldId="2072"/>
        </pc:sldMkLst>
      </pc:sldChg>
      <pc:sldChg chg="addSp delSp modSp add mod">
        <pc:chgData name="Kümmerle, Markus" userId="edb588ad-b118-44cb-93b6-335b967c9009" providerId="ADAL" clId="{B82CC40D-97D3-4F7D-9D76-D5107F3005F0}" dt="2023-06-29T12:37:48.771" v="1291"/>
        <pc:sldMkLst>
          <pc:docMk/>
          <pc:sldMk cId="543694237" sldId="2073"/>
        </pc:sldMkLst>
        <pc:spChg chg="mod">
          <ac:chgData name="Kümmerle, Markus" userId="edb588ad-b118-44cb-93b6-335b967c9009" providerId="ADAL" clId="{B82CC40D-97D3-4F7D-9D76-D5107F3005F0}" dt="2023-06-29T12:37:48.713" v="1266" actId="948"/>
          <ac:spMkLst>
            <pc:docMk/>
            <pc:sldMk cId="543694237" sldId="2073"/>
            <ac:spMk id="2" creationId="{522AAE0A-A4E7-EAE3-A17A-A6536C3CE595}"/>
          </ac:spMkLst>
        </pc:spChg>
        <pc:spChg chg="del">
          <ac:chgData name="Kümmerle, Markus" userId="edb588ad-b118-44cb-93b6-335b967c9009" providerId="ADAL" clId="{B82CC40D-97D3-4F7D-9D76-D5107F3005F0}" dt="2023-06-14T12:46:55.598" v="4" actId="478"/>
          <ac:spMkLst>
            <pc:docMk/>
            <pc:sldMk cId="543694237" sldId="2073"/>
            <ac:spMk id="3" creationId="{45FA1B7E-7A42-C30C-631A-87B5B2844170}"/>
          </ac:spMkLst>
        </pc:spChg>
        <pc:spChg chg="add del mod modVis">
          <ac:chgData name="Kümmerle, Markus" userId="edb588ad-b118-44cb-93b6-335b967c9009" providerId="ADAL" clId="{B82CC40D-97D3-4F7D-9D76-D5107F3005F0}" dt="2023-06-29T12:37:48.768" v="1289"/>
          <ac:spMkLst>
            <pc:docMk/>
            <pc:sldMk cId="543694237" sldId="2073"/>
            <ac:spMk id="3" creationId="{8EB062BA-B464-F395-E0CE-6661986F07CD}"/>
          </ac:spMkLst>
        </pc:spChg>
        <pc:spChg chg="add mod">
          <ac:chgData name="Kümmerle, Markus" userId="edb588ad-b118-44cb-93b6-335b967c9009" providerId="ADAL" clId="{B82CC40D-97D3-4F7D-9D76-D5107F3005F0}" dt="2023-06-15T08:07:49.176" v="458" actId="20577"/>
          <ac:spMkLst>
            <pc:docMk/>
            <pc:sldMk cId="543694237" sldId="2073"/>
            <ac:spMk id="5" creationId="{A5C80667-51CB-7E14-F4B9-2EBC96701214}"/>
          </ac:spMkLst>
        </pc:spChg>
        <pc:spChg chg="add mod">
          <ac:chgData name="Kümmerle, Markus" userId="edb588ad-b118-44cb-93b6-335b967c9009" providerId="ADAL" clId="{B82CC40D-97D3-4F7D-9D76-D5107F3005F0}" dt="2023-06-15T08:07:34.303" v="456" actId="20577"/>
          <ac:spMkLst>
            <pc:docMk/>
            <pc:sldMk cId="543694237" sldId="2073"/>
            <ac:spMk id="6" creationId="{A4A5CEEE-0A21-725B-A052-E4C2C259ED96}"/>
          </ac:spMkLst>
        </pc:spChg>
        <pc:spChg chg="add mod">
          <ac:chgData name="Kümmerle, Markus" userId="edb588ad-b118-44cb-93b6-335b967c9009" providerId="ADAL" clId="{B82CC40D-97D3-4F7D-9D76-D5107F3005F0}" dt="2023-06-15T08:07:25.399" v="454" actId="20577"/>
          <ac:spMkLst>
            <pc:docMk/>
            <pc:sldMk cId="543694237" sldId="2073"/>
            <ac:spMk id="7" creationId="{75A61578-B26F-4CF4-D813-9EE7B6DC484A}"/>
          </ac:spMkLst>
        </pc:spChg>
        <pc:spChg chg="add mod">
          <ac:chgData name="Kümmerle, Markus" userId="edb588ad-b118-44cb-93b6-335b967c9009" providerId="ADAL" clId="{B82CC40D-97D3-4F7D-9D76-D5107F3005F0}" dt="2023-06-29T12:36:16.551" v="1195" actId="20577"/>
          <ac:spMkLst>
            <pc:docMk/>
            <pc:sldMk cId="543694237" sldId="2073"/>
            <ac:spMk id="13" creationId="{82FF4841-D916-AE2D-2D78-F51D7204BB48}"/>
          </ac:spMkLst>
        </pc:spChg>
        <pc:spChg chg="add mod">
          <ac:chgData name="Kümmerle, Markus" userId="edb588ad-b118-44cb-93b6-335b967c9009" providerId="ADAL" clId="{B82CC40D-97D3-4F7D-9D76-D5107F3005F0}" dt="2023-06-14T12:47:16.234" v="6" actId="2711"/>
          <ac:spMkLst>
            <pc:docMk/>
            <pc:sldMk cId="543694237" sldId="2073"/>
            <ac:spMk id="16" creationId="{28CD0476-B696-F301-5AB5-A2FC9F46BCDA}"/>
          </ac:spMkLst>
        </pc:spChg>
        <pc:spChg chg="add del mod modVis">
          <ac:chgData name="Kümmerle, Markus" userId="edb588ad-b118-44cb-93b6-335b967c9009" providerId="ADAL" clId="{B82CC40D-97D3-4F7D-9D76-D5107F3005F0}" dt="2023-06-14T12:47:46.168" v="31"/>
          <ac:spMkLst>
            <pc:docMk/>
            <pc:sldMk cId="543694237" sldId="2073"/>
            <ac:spMk id="19" creationId="{53AF17E3-7AF6-6AF0-80AE-D3E23A0178BD}"/>
          </ac:spMkLst>
        </pc:spChg>
        <pc:spChg chg="add del mod modVis">
          <ac:chgData name="Kümmerle, Markus" userId="edb588ad-b118-44cb-93b6-335b967c9009" providerId="ADAL" clId="{B82CC40D-97D3-4F7D-9D76-D5107F3005F0}" dt="2023-06-14T12:47:49.692" v="71"/>
          <ac:spMkLst>
            <pc:docMk/>
            <pc:sldMk cId="543694237" sldId="2073"/>
            <ac:spMk id="21" creationId="{E690BD3E-4773-4C60-C293-B6522B426C36}"/>
          </ac:spMkLst>
        </pc:spChg>
        <pc:graphicFrameChg chg="add mod ord modVis replST">
          <ac:chgData name="Kümmerle, Markus" userId="edb588ad-b118-44cb-93b6-335b967c9009" providerId="ADAL" clId="{B82CC40D-97D3-4F7D-9D76-D5107F3005F0}" dt="2023-06-29T12:37:48.771" v="1291"/>
          <ac:graphicFrameMkLst>
            <pc:docMk/>
            <pc:sldMk cId="543694237" sldId="2073"/>
            <ac:graphicFrameMk id="20" creationId="{9268DDC5-C4D9-3894-F61E-23421673DAE2}"/>
          </ac:graphicFrameMkLst>
        </pc:graphicFrameChg>
        <pc:picChg chg="add mod">
          <ac:chgData name="Kümmerle, Markus" userId="edb588ad-b118-44cb-93b6-335b967c9009" providerId="ADAL" clId="{B82CC40D-97D3-4F7D-9D76-D5107F3005F0}" dt="2023-06-14T12:46:56.812" v="5"/>
          <ac:picMkLst>
            <pc:docMk/>
            <pc:sldMk cId="543694237" sldId="2073"/>
            <ac:picMk id="4" creationId="{00C436EE-9BA6-4110-84D3-EA04130B10BF}"/>
          </ac:picMkLst>
        </pc:picChg>
        <pc:picChg chg="add mod">
          <ac:chgData name="Kümmerle, Markus" userId="edb588ad-b118-44cb-93b6-335b967c9009" providerId="ADAL" clId="{B82CC40D-97D3-4F7D-9D76-D5107F3005F0}" dt="2023-06-14T12:46:56.812" v="5"/>
          <ac:picMkLst>
            <pc:docMk/>
            <pc:sldMk cId="543694237" sldId="2073"/>
            <ac:picMk id="8" creationId="{209CB41D-7A6E-8586-2BCE-65195C164E61}"/>
          </ac:picMkLst>
        </pc:picChg>
        <pc:picChg chg="add mod">
          <ac:chgData name="Kümmerle, Markus" userId="edb588ad-b118-44cb-93b6-335b967c9009" providerId="ADAL" clId="{B82CC40D-97D3-4F7D-9D76-D5107F3005F0}" dt="2023-06-14T12:46:56.812" v="5"/>
          <ac:picMkLst>
            <pc:docMk/>
            <pc:sldMk cId="543694237" sldId="2073"/>
            <ac:picMk id="9" creationId="{780EC63C-7E20-93E3-8522-8E845C0487BC}"/>
          </ac:picMkLst>
        </pc:picChg>
        <pc:picChg chg="add mod">
          <ac:chgData name="Kümmerle, Markus" userId="edb588ad-b118-44cb-93b6-335b967c9009" providerId="ADAL" clId="{B82CC40D-97D3-4F7D-9D76-D5107F3005F0}" dt="2023-06-14T12:46:56.812" v="5"/>
          <ac:picMkLst>
            <pc:docMk/>
            <pc:sldMk cId="543694237" sldId="2073"/>
            <ac:picMk id="15" creationId="{03C28D74-8073-7849-D43C-8CC38E0E7900}"/>
          </ac:picMkLst>
        </pc:picChg>
        <pc:picChg chg="add mod">
          <ac:chgData name="Kümmerle, Markus" userId="edb588ad-b118-44cb-93b6-335b967c9009" providerId="ADAL" clId="{B82CC40D-97D3-4F7D-9D76-D5107F3005F0}" dt="2023-06-14T12:46:56.812" v="5"/>
          <ac:picMkLst>
            <pc:docMk/>
            <pc:sldMk cId="543694237" sldId="2073"/>
            <ac:picMk id="18" creationId="{779328AA-5889-87F6-32AC-1966B37C4847}"/>
          </ac:picMkLst>
        </pc:picChg>
        <pc:cxnChg chg="add mod">
          <ac:chgData name="Kümmerle, Markus" userId="edb588ad-b118-44cb-93b6-335b967c9009" providerId="ADAL" clId="{B82CC40D-97D3-4F7D-9D76-D5107F3005F0}" dt="2023-06-14T12:46:56.812" v="5"/>
          <ac:cxnSpMkLst>
            <pc:docMk/>
            <pc:sldMk cId="543694237" sldId="2073"/>
            <ac:cxnSpMk id="10" creationId="{4CFCDF77-F7BB-5857-6293-6D2134F1E062}"/>
          </ac:cxnSpMkLst>
        </pc:cxnChg>
        <pc:cxnChg chg="add mod">
          <ac:chgData name="Kümmerle, Markus" userId="edb588ad-b118-44cb-93b6-335b967c9009" providerId="ADAL" clId="{B82CC40D-97D3-4F7D-9D76-D5107F3005F0}" dt="2023-06-14T12:46:56.812" v="5"/>
          <ac:cxnSpMkLst>
            <pc:docMk/>
            <pc:sldMk cId="543694237" sldId="2073"/>
            <ac:cxnSpMk id="11" creationId="{0D1D6DE6-764C-2C4E-E105-10CA6A7B73CD}"/>
          </ac:cxnSpMkLst>
        </pc:cxnChg>
        <pc:cxnChg chg="add mod">
          <ac:chgData name="Kümmerle, Markus" userId="edb588ad-b118-44cb-93b6-335b967c9009" providerId="ADAL" clId="{B82CC40D-97D3-4F7D-9D76-D5107F3005F0}" dt="2023-06-14T12:46:56.812" v="5"/>
          <ac:cxnSpMkLst>
            <pc:docMk/>
            <pc:sldMk cId="543694237" sldId="2073"/>
            <ac:cxnSpMk id="12" creationId="{187D71C0-A903-D394-DB58-9F25ACDDD784}"/>
          </ac:cxnSpMkLst>
        </pc:cxnChg>
        <pc:cxnChg chg="add mod">
          <ac:chgData name="Kümmerle, Markus" userId="edb588ad-b118-44cb-93b6-335b967c9009" providerId="ADAL" clId="{B82CC40D-97D3-4F7D-9D76-D5107F3005F0}" dt="2023-06-14T12:46:56.812" v="5"/>
          <ac:cxnSpMkLst>
            <pc:docMk/>
            <pc:sldMk cId="543694237" sldId="2073"/>
            <ac:cxnSpMk id="14" creationId="{806437AF-074A-CE8C-636E-1D2C65106FF5}"/>
          </ac:cxnSpMkLst>
        </pc:cxnChg>
        <pc:cxnChg chg="add mod">
          <ac:chgData name="Kümmerle, Markus" userId="edb588ad-b118-44cb-93b6-335b967c9009" providerId="ADAL" clId="{B82CC40D-97D3-4F7D-9D76-D5107F3005F0}" dt="2023-06-14T12:46:56.812" v="5"/>
          <ac:cxnSpMkLst>
            <pc:docMk/>
            <pc:sldMk cId="543694237" sldId="2073"/>
            <ac:cxnSpMk id="17" creationId="{DBADF127-52B3-E998-C1D3-D0C649FD1787}"/>
          </ac:cxnSpMkLst>
        </pc:cxnChg>
      </pc:sldChg>
      <pc:sldChg chg="addSp delSp modSp add mod">
        <pc:chgData name="Kümmerle, Markus" userId="edb588ad-b118-44cb-93b6-335b967c9009" providerId="ADAL" clId="{B82CC40D-97D3-4F7D-9D76-D5107F3005F0}" dt="2023-06-29T13:02:07.789" v="1905" actId="478"/>
        <pc:sldMkLst>
          <pc:docMk/>
          <pc:sldMk cId="1782414986" sldId="2074"/>
        </pc:sldMkLst>
        <pc:spChg chg="mod">
          <ac:chgData name="Kümmerle, Markus" userId="edb588ad-b118-44cb-93b6-335b967c9009" providerId="ADAL" clId="{B82CC40D-97D3-4F7D-9D76-D5107F3005F0}" dt="2023-06-29T12:38:25.720" v="1334" actId="948"/>
          <ac:spMkLst>
            <pc:docMk/>
            <pc:sldMk cId="1782414986" sldId="2074"/>
            <ac:spMk id="2" creationId="{522AAE0A-A4E7-EAE3-A17A-A6536C3CE595}"/>
          </ac:spMkLst>
        </pc:spChg>
        <pc:spChg chg="del">
          <ac:chgData name="Kümmerle, Markus" userId="edb588ad-b118-44cb-93b6-335b967c9009" providerId="ADAL" clId="{B82CC40D-97D3-4F7D-9D76-D5107F3005F0}" dt="2023-06-14T12:55:08.902" v="255" actId="478"/>
          <ac:spMkLst>
            <pc:docMk/>
            <pc:sldMk cId="1782414986" sldId="2074"/>
            <ac:spMk id="3" creationId="{45FA1B7E-7A42-C30C-631A-87B5B2844170}"/>
          </ac:spMkLst>
        </pc:spChg>
        <pc:spChg chg="add del mod modVis">
          <ac:chgData name="Kümmerle, Markus" userId="edb588ad-b118-44cb-93b6-335b967c9009" providerId="ADAL" clId="{B82CC40D-97D3-4F7D-9D76-D5107F3005F0}" dt="2023-06-29T12:38:25.760" v="1357"/>
          <ac:spMkLst>
            <pc:docMk/>
            <pc:sldMk cId="1782414986" sldId="2074"/>
            <ac:spMk id="3" creationId="{47FDF5FD-6788-C8FE-EAAA-C3DD2DD4D476}"/>
          </ac:spMkLst>
        </pc:spChg>
        <pc:spChg chg="add mod">
          <ac:chgData name="Kümmerle, Markus" userId="edb588ad-b118-44cb-93b6-335b967c9009" providerId="ADAL" clId="{B82CC40D-97D3-4F7D-9D76-D5107F3005F0}" dt="2023-06-29T13:02:02.894" v="1904" actId="20577"/>
          <ac:spMkLst>
            <pc:docMk/>
            <pc:sldMk cId="1782414986" sldId="2074"/>
            <ac:spMk id="4" creationId="{13B22C67-964E-3FCC-8EE2-8BF17CC879BA}"/>
          </ac:spMkLst>
        </pc:spChg>
        <pc:spChg chg="add del mod modVis">
          <ac:chgData name="Kümmerle, Markus" userId="edb588ad-b118-44cb-93b6-335b967c9009" providerId="ADAL" clId="{B82CC40D-97D3-4F7D-9D76-D5107F3005F0}" dt="2023-06-15T08:15:55.595" v="493"/>
          <ac:spMkLst>
            <pc:docMk/>
            <pc:sldMk cId="1782414986" sldId="2074"/>
            <ac:spMk id="6" creationId="{8C4018DF-6E86-60C6-1B3C-6C7A67B35F06}"/>
          </ac:spMkLst>
        </pc:spChg>
        <pc:spChg chg="add del mod modVis">
          <ac:chgData name="Kümmerle, Markus" userId="edb588ad-b118-44cb-93b6-335b967c9009" providerId="ADAL" clId="{B82CC40D-97D3-4F7D-9D76-D5107F3005F0}" dt="2023-06-15T08:16:01.959" v="542"/>
          <ac:spMkLst>
            <pc:docMk/>
            <pc:sldMk cId="1782414986" sldId="2074"/>
            <ac:spMk id="8" creationId="{1B9A3543-72F2-3F76-BCBB-9A1F8E2AEC2E}"/>
          </ac:spMkLst>
        </pc:spChg>
        <pc:spChg chg="add del mod modVis">
          <ac:chgData name="Kümmerle, Markus" userId="edb588ad-b118-44cb-93b6-335b967c9009" providerId="ADAL" clId="{B82CC40D-97D3-4F7D-9D76-D5107F3005F0}" dt="2023-06-15T08:16:03.813" v="569"/>
          <ac:spMkLst>
            <pc:docMk/>
            <pc:sldMk cId="1782414986" sldId="2074"/>
            <ac:spMk id="9" creationId="{64FFB843-EB42-C249-5452-0A2B289FF129}"/>
          </ac:spMkLst>
        </pc:spChg>
        <pc:spChg chg="add del mod modVis">
          <ac:chgData name="Kümmerle, Markus" userId="edb588ad-b118-44cb-93b6-335b967c9009" providerId="ADAL" clId="{B82CC40D-97D3-4F7D-9D76-D5107F3005F0}" dt="2023-06-15T08:16:09.071" v="610"/>
          <ac:spMkLst>
            <pc:docMk/>
            <pc:sldMk cId="1782414986" sldId="2074"/>
            <ac:spMk id="10" creationId="{8F9D919F-529A-2383-2792-662A39918705}"/>
          </ac:spMkLst>
        </pc:spChg>
        <pc:graphicFrameChg chg="add mod ord modVis replST">
          <ac:chgData name="Kümmerle, Markus" userId="edb588ad-b118-44cb-93b6-335b967c9009" providerId="ADAL" clId="{B82CC40D-97D3-4F7D-9D76-D5107F3005F0}" dt="2023-06-29T12:38:25.763" v="1359"/>
          <ac:graphicFrameMkLst>
            <pc:docMk/>
            <pc:sldMk cId="1782414986" sldId="2074"/>
            <ac:graphicFrameMk id="7" creationId="{9A898F6F-D38C-401D-1F06-FD0B82741307}"/>
          </ac:graphicFrameMkLst>
        </pc:graphicFrameChg>
        <pc:picChg chg="add del mod">
          <ac:chgData name="Kümmerle, Markus" userId="edb588ad-b118-44cb-93b6-335b967c9009" providerId="ADAL" clId="{B82CC40D-97D3-4F7D-9D76-D5107F3005F0}" dt="2023-06-15T11:12:29.242" v="1059" actId="478"/>
          <ac:picMkLst>
            <pc:docMk/>
            <pc:sldMk cId="1782414986" sldId="2074"/>
            <ac:picMk id="5" creationId="{58105C6E-1E2D-B9BD-159E-4D88F82B74D9}"/>
          </ac:picMkLst>
        </pc:picChg>
        <pc:picChg chg="add del mod">
          <ac:chgData name="Kümmerle, Markus" userId="edb588ad-b118-44cb-93b6-335b967c9009" providerId="ADAL" clId="{B82CC40D-97D3-4F7D-9D76-D5107F3005F0}" dt="2023-06-29T12:58:55.669" v="1884" actId="478"/>
          <ac:picMkLst>
            <pc:docMk/>
            <pc:sldMk cId="1782414986" sldId="2074"/>
            <ac:picMk id="6" creationId="{840702DD-1E23-1573-2236-8272740C46DE}"/>
          </ac:picMkLst>
        </pc:picChg>
        <pc:picChg chg="add mod">
          <ac:chgData name="Kümmerle, Markus" userId="edb588ad-b118-44cb-93b6-335b967c9009" providerId="ADAL" clId="{B82CC40D-97D3-4F7D-9D76-D5107F3005F0}" dt="2023-06-29T12:59:17.956" v="1888" actId="1076"/>
          <ac:picMkLst>
            <pc:docMk/>
            <pc:sldMk cId="1782414986" sldId="2074"/>
            <ac:picMk id="8" creationId="{6AAF8614-746C-5E3D-955B-56B8BF3C3A5D}"/>
          </ac:picMkLst>
        </pc:picChg>
        <pc:picChg chg="add del mod">
          <ac:chgData name="Kümmerle, Markus" userId="edb588ad-b118-44cb-93b6-335b967c9009" providerId="ADAL" clId="{B82CC40D-97D3-4F7D-9D76-D5107F3005F0}" dt="2023-06-29T13:02:07.789" v="1905" actId="478"/>
          <ac:picMkLst>
            <pc:docMk/>
            <pc:sldMk cId="1782414986" sldId="2074"/>
            <ac:picMk id="10" creationId="{B3E42E84-FE2F-37E5-07A3-31814F93B193}"/>
          </ac:picMkLst>
        </pc:picChg>
      </pc:sldChg>
      <pc:sldChg chg="addSp delSp modSp add mod">
        <pc:chgData name="Kümmerle, Markus" userId="edb588ad-b118-44cb-93b6-335b967c9009" providerId="ADAL" clId="{B82CC40D-97D3-4F7D-9D76-D5107F3005F0}" dt="2023-06-29T12:39:28.562" v="1638"/>
        <pc:sldMkLst>
          <pc:docMk/>
          <pc:sldMk cId="3203642395" sldId="2075"/>
        </pc:sldMkLst>
        <pc:spChg chg="mod">
          <ac:chgData name="Kümmerle, Markus" userId="edb588ad-b118-44cb-93b6-335b967c9009" providerId="ADAL" clId="{B82CC40D-97D3-4F7D-9D76-D5107F3005F0}" dt="2023-06-29T12:39:28.503" v="1613" actId="948"/>
          <ac:spMkLst>
            <pc:docMk/>
            <pc:sldMk cId="3203642395" sldId="2075"/>
            <ac:spMk id="2" creationId="{522AAE0A-A4E7-EAE3-A17A-A6536C3CE595}"/>
          </ac:spMkLst>
        </pc:spChg>
        <pc:spChg chg="del">
          <ac:chgData name="Kümmerle, Markus" userId="edb588ad-b118-44cb-93b6-335b967c9009" providerId="ADAL" clId="{B82CC40D-97D3-4F7D-9D76-D5107F3005F0}" dt="2023-06-14T12:51:34.140" v="168" actId="478"/>
          <ac:spMkLst>
            <pc:docMk/>
            <pc:sldMk cId="3203642395" sldId="2075"/>
            <ac:spMk id="3" creationId="{45FA1B7E-7A42-C30C-631A-87B5B2844170}"/>
          </ac:spMkLst>
        </pc:spChg>
        <pc:spChg chg="add del mod modVis">
          <ac:chgData name="Kümmerle, Markus" userId="edb588ad-b118-44cb-93b6-335b967c9009" providerId="ADAL" clId="{B82CC40D-97D3-4F7D-9D76-D5107F3005F0}" dt="2023-06-29T12:39:28.558" v="1636"/>
          <ac:spMkLst>
            <pc:docMk/>
            <pc:sldMk cId="3203642395" sldId="2075"/>
            <ac:spMk id="3" creationId="{554261ED-2204-80B5-9B0D-D45CB7BC867E}"/>
          </ac:spMkLst>
        </pc:spChg>
        <pc:spChg chg="add del mod">
          <ac:chgData name="Kümmerle, Markus" userId="edb588ad-b118-44cb-93b6-335b967c9009" providerId="ADAL" clId="{B82CC40D-97D3-4F7D-9D76-D5107F3005F0}" dt="2023-06-15T08:19:47.526" v="637" actId="478"/>
          <ac:spMkLst>
            <pc:docMk/>
            <pc:sldMk cId="3203642395" sldId="2075"/>
            <ac:spMk id="4" creationId="{659BA6F9-DEA1-73AA-1002-310BC55B360D}"/>
          </ac:spMkLst>
        </pc:spChg>
        <pc:spChg chg="add del mod">
          <ac:chgData name="Kümmerle, Markus" userId="edb588ad-b118-44cb-93b6-335b967c9009" providerId="ADAL" clId="{B82CC40D-97D3-4F7D-9D76-D5107F3005F0}" dt="2023-06-15T08:19:47.526" v="637" actId="478"/>
          <ac:spMkLst>
            <pc:docMk/>
            <pc:sldMk cId="3203642395" sldId="2075"/>
            <ac:spMk id="5" creationId="{99D40539-4601-2907-3F76-27FE3581F142}"/>
          </ac:spMkLst>
        </pc:spChg>
        <pc:spChg chg="add del mod">
          <ac:chgData name="Kümmerle, Markus" userId="edb588ad-b118-44cb-93b6-335b967c9009" providerId="ADAL" clId="{B82CC40D-97D3-4F7D-9D76-D5107F3005F0}" dt="2023-06-15T08:19:47.526" v="637" actId="478"/>
          <ac:spMkLst>
            <pc:docMk/>
            <pc:sldMk cId="3203642395" sldId="2075"/>
            <ac:spMk id="6" creationId="{46DC88D0-236D-330E-2964-D3AA5C7F9ACE}"/>
          </ac:spMkLst>
        </pc:spChg>
        <pc:spChg chg="add del mod">
          <ac:chgData name="Kümmerle, Markus" userId="edb588ad-b118-44cb-93b6-335b967c9009" providerId="ADAL" clId="{B82CC40D-97D3-4F7D-9D76-D5107F3005F0}" dt="2023-06-15T08:19:47.526" v="637" actId="478"/>
          <ac:spMkLst>
            <pc:docMk/>
            <pc:sldMk cId="3203642395" sldId="2075"/>
            <ac:spMk id="7" creationId="{E7C49420-32A7-F00C-AC3E-54CD4761D39F}"/>
          </ac:spMkLst>
        </pc:spChg>
        <pc:spChg chg="add del mod">
          <ac:chgData name="Kümmerle, Markus" userId="edb588ad-b118-44cb-93b6-335b967c9009" providerId="ADAL" clId="{B82CC40D-97D3-4F7D-9D76-D5107F3005F0}" dt="2023-06-15T08:19:47.526" v="637" actId="478"/>
          <ac:spMkLst>
            <pc:docMk/>
            <pc:sldMk cId="3203642395" sldId="2075"/>
            <ac:spMk id="8" creationId="{1241844E-7FEE-5D3D-398E-4E080EAE30D4}"/>
          </ac:spMkLst>
        </pc:spChg>
        <pc:spChg chg="add del mod">
          <ac:chgData name="Kümmerle, Markus" userId="edb588ad-b118-44cb-93b6-335b967c9009" providerId="ADAL" clId="{B82CC40D-97D3-4F7D-9D76-D5107F3005F0}" dt="2023-06-15T08:19:47.526" v="637" actId="478"/>
          <ac:spMkLst>
            <pc:docMk/>
            <pc:sldMk cId="3203642395" sldId="2075"/>
            <ac:spMk id="9" creationId="{C063C79D-D9C5-7D0B-5EBE-20D765085E37}"/>
          </ac:spMkLst>
        </pc:spChg>
        <pc:spChg chg="add del mod">
          <ac:chgData name="Kümmerle, Markus" userId="edb588ad-b118-44cb-93b6-335b967c9009" providerId="ADAL" clId="{B82CC40D-97D3-4F7D-9D76-D5107F3005F0}" dt="2023-06-15T08:19:47.526" v="637" actId="478"/>
          <ac:spMkLst>
            <pc:docMk/>
            <pc:sldMk cId="3203642395" sldId="2075"/>
            <ac:spMk id="10" creationId="{3AAC57A4-3844-80B7-0A66-891F17B9C1B0}"/>
          </ac:spMkLst>
        </pc:spChg>
        <pc:spChg chg="add del mod">
          <ac:chgData name="Kümmerle, Markus" userId="edb588ad-b118-44cb-93b6-335b967c9009" providerId="ADAL" clId="{B82CC40D-97D3-4F7D-9D76-D5107F3005F0}" dt="2023-06-15T08:19:47.526" v="637" actId="478"/>
          <ac:spMkLst>
            <pc:docMk/>
            <pc:sldMk cId="3203642395" sldId="2075"/>
            <ac:spMk id="11" creationId="{1B779CBA-3D09-C7C6-CB41-9C9DFBAC1758}"/>
          </ac:spMkLst>
        </pc:spChg>
        <pc:spChg chg="add del mod modVis">
          <ac:chgData name="Kümmerle, Markus" userId="edb588ad-b118-44cb-93b6-335b967c9009" providerId="ADAL" clId="{B82CC40D-97D3-4F7D-9D76-D5107F3005F0}" dt="2023-06-14T12:51:57.430" v="196"/>
          <ac:spMkLst>
            <pc:docMk/>
            <pc:sldMk cId="3203642395" sldId="2075"/>
            <ac:spMk id="12" creationId="{B6243BFA-2BE7-DE52-422D-B810D74F50B6}"/>
          </ac:spMkLst>
        </pc:spChg>
        <pc:spChg chg="add mod">
          <ac:chgData name="Kümmerle, Markus" userId="edb588ad-b118-44cb-93b6-335b967c9009" providerId="ADAL" clId="{B82CC40D-97D3-4F7D-9D76-D5107F3005F0}" dt="2023-06-15T08:19:48.206" v="638"/>
          <ac:spMkLst>
            <pc:docMk/>
            <pc:sldMk cId="3203642395" sldId="2075"/>
            <ac:spMk id="14" creationId="{3502CCC4-83CD-D38D-1443-2A938F6E9D1F}"/>
          </ac:spMkLst>
        </pc:spChg>
        <pc:spChg chg="add mod">
          <ac:chgData name="Kümmerle, Markus" userId="edb588ad-b118-44cb-93b6-335b967c9009" providerId="ADAL" clId="{B82CC40D-97D3-4F7D-9D76-D5107F3005F0}" dt="2023-06-15T08:19:48.206" v="638"/>
          <ac:spMkLst>
            <pc:docMk/>
            <pc:sldMk cId="3203642395" sldId="2075"/>
            <ac:spMk id="15" creationId="{499542B1-FC93-AFFE-D2C6-90657E1E1C95}"/>
          </ac:spMkLst>
        </pc:spChg>
        <pc:spChg chg="add mod">
          <ac:chgData name="Kümmerle, Markus" userId="edb588ad-b118-44cb-93b6-335b967c9009" providerId="ADAL" clId="{B82CC40D-97D3-4F7D-9D76-D5107F3005F0}" dt="2023-06-15T08:19:48.206" v="638"/>
          <ac:spMkLst>
            <pc:docMk/>
            <pc:sldMk cId="3203642395" sldId="2075"/>
            <ac:spMk id="16" creationId="{1866EC8C-F9CD-D044-2A3B-687E27A04729}"/>
          </ac:spMkLst>
        </pc:spChg>
        <pc:spChg chg="add mod">
          <ac:chgData name="Kümmerle, Markus" userId="edb588ad-b118-44cb-93b6-335b967c9009" providerId="ADAL" clId="{B82CC40D-97D3-4F7D-9D76-D5107F3005F0}" dt="2023-06-15T08:19:48.206" v="638"/>
          <ac:spMkLst>
            <pc:docMk/>
            <pc:sldMk cId="3203642395" sldId="2075"/>
            <ac:spMk id="17" creationId="{6B162F3C-6835-5030-D530-3FA6CD404F52}"/>
          </ac:spMkLst>
        </pc:spChg>
        <pc:spChg chg="add mod">
          <ac:chgData name="Kümmerle, Markus" userId="edb588ad-b118-44cb-93b6-335b967c9009" providerId="ADAL" clId="{B82CC40D-97D3-4F7D-9D76-D5107F3005F0}" dt="2023-06-15T08:19:48.206" v="638"/>
          <ac:spMkLst>
            <pc:docMk/>
            <pc:sldMk cId="3203642395" sldId="2075"/>
            <ac:spMk id="18" creationId="{0410954F-0A3C-90EA-B2DC-30BFB815D378}"/>
          </ac:spMkLst>
        </pc:spChg>
        <pc:spChg chg="add mod">
          <ac:chgData name="Kümmerle, Markus" userId="edb588ad-b118-44cb-93b6-335b967c9009" providerId="ADAL" clId="{B82CC40D-97D3-4F7D-9D76-D5107F3005F0}" dt="2023-06-15T08:19:48.206" v="638"/>
          <ac:spMkLst>
            <pc:docMk/>
            <pc:sldMk cId="3203642395" sldId="2075"/>
            <ac:spMk id="19" creationId="{F2487BE1-0C49-FC8D-B29B-20F133C7C5B2}"/>
          </ac:spMkLst>
        </pc:spChg>
        <pc:spChg chg="add mod">
          <ac:chgData name="Kümmerle, Markus" userId="edb588ad-b118-44cb-93b6-335b967c9009" providerId="ADAL" clId="{B82CC40D-97D3-4F7D-9D76-D5107F3005F0}" dt="2023-06-15T08:19:48.206" v="638"/>
          <ac:spMkLst>
            <pc:docMk/>
            <pc:sldMk cId="3203642395" sldId="2075"/>
            <ac:spMk id="20" creationId="{FA3714B3-0F76-3FC8-4A2B-088A3E47B8B1}"/>
          </ac:spMkLst>
        </pc:spChg>
        <pc:spChg chg="add mod">
          <ac:chgData name="Kümmerle, Markus" userId="edb588ad-b118-44cb-93b6-335b967c9009" providerId="ADAL" clId="{B82CC40D-97D3-4F7D-9D76-D5107F3005F0}" dt="2023-06-15T08:19:48.206" v="638"/>
          <ac:spMkLst>
            <pc:docMk/>
            <pc:sldMk cId="3203642395" sldId="2075"/>
            <ac:spMk id="21" creationId="{FD2F003C-1E08-39A5-4AF5-072A9BDF3219}"/>
          </ac:spMkLst>
        </pc:spChg>
        <pc:graphicFrameChg chg="add mod ord modVis replST">
          <ac:chgData name="Kümmerle, Markus" userId="edb588ad-b118-44cb-93b6-335b967c9009" providerId="ADAL" clId="{B82CC40D-97D3-4F7D-9D76-D5107F3005F0}" dt="2023-06-29T12:39:28.562" v="1638"/>
          <ac:graphicFrameMkLst>
            <pc:docMk/>
            <pc:sldMk cId="3203642395" sldId="2075"/>
            <ac:graphicFrameMk id="13" creationId="{46060C58-8E09-15FA-2438-DAF29663B44E}"/>
          </ac:graphicFrameMkLst>
        </pc:graphicFrameChg>
      </pc:sldChg>
      <pc:sldChg chg="addSp delSp modSp add mod">
        <pc:chgData name="Kümmerle, Markus" userId="edb588ad-b118-44cb-93b6-335b967c9009" providerId="ADAL" clId="{B82CC40D-97D3-4F7D-9D76-D5107F3005F0}" dt="2023-06-29T12:38:46.356" v="1427"/>
        <pc:sldMkLst>
          <pc:docMk/>
          <pc:sldMk cId="2111237129" sldId="2076"/>
        </pc:sldMkLst>
        <pc:spChg chg="mod">
          <ac:chgData name="Kümmerle, Markus" userId="edb588ad-b118-44cb-93b6-335b967c9009" providerId="ADAL" clId="{B82CC40D-97D3-4F7D-9D76-D5107F3005F0}" dt="2023-06-29T12:38:46.308" v="1402" actId="948"/>
          <ac:spMkLst>
            <pc:docMk/>
            <pc:sldMk cId="2111237129" sldId="2076"/>
            <ac:spMk id="2" creationId="{522AAE0A-A4E7-EAE3-A17A-A6536C3CE595}"/>
          </ac:spMkLst>
        </pc:spChg>
        <pc:spChg chg="add del mod modVis">
          <ac:chgData name="Kümmerle, Markus" userId="edb588ad-b118-44cb-93b6-335b967c9009" providerId="ADAL" clId="{B82CC40D-97D3-4F7D-9D76-D5107F3005F0}" dt="2023-06-29T12:38:41.075" v="1391"/>
          <ac:spMkLst>
            <pc:docMk/>
            <pc:sldMk cId="2111237129" sldId="2076"/>
            <ac:spMk id="3" creationId="{06C29441-BB21-DEAB-1F0A-9F24C3C0667E}"/>
          </ac:spMkLst>
        </pc:spChg>
        <pc:spChg chg="del">
          <ac:chgData name="Kümmerle, Markus" userId="edb588ad-b118-44cb-93b6-335b967c9009" providerId="ADAL" clId="{B82CC40D-97D3-4F7D-9D76-D5107F3005F0}" dt="2023-06-14T12:54:19.627" v="213" actId="478"/>
          <ac:spMkLst>
            <pc:docMk/>
            <pc:sldMk cId="2111237129" sldId="2076"/>
            <ac:spMk id="3" creationId="{45FA1B7E-7A42-C30C-631A-87B5B2844170}"/>
          </ac:spMkLst>
        </pc:spChg>
        <pc:spChg chg="add del mod modVis">
          <ac:chgData name="Kümmerle, Markus" userId="edb588ad-b118-44cb-93b6-335b967c9009" providerId="ADAL" clId="{B82CC40D-97D3-4F7D-9D76-D5107F3005F0}" dt="2023-06-29T12:38:46.353" v="1425"/>
          <ac:spMkLst>
            <pc:docMk/>
            <pc:sldMk cId="2111237129" sldId="2076"/>
            <ac:spMk id="28" creationId="{29078FDA-24C8-2436-7FDC-3687CED2DD33}"/>
          </ac:spMkLst>
        </pc:spChg>
        <pc:spChg chg="add del mod modVis">
          <ac:chgData name="Kümmerle, Markus" userId="edb588ad-b118-44cb-93b6-335b967c9009" providerId="ADAL" clId="{B82CC40D-97D3-4F7D-9D76-D5107F3005F0}" dt="2023-06-14T12:54:40.707" v="239"/>
          <ac:spMkLst>
            <pc:docMk/>
            <pc:sldMk cId="2111237129" sldId="2076"/>
            <ac:spMk id="28" creationId="{4A0A0212-8FCD-B7F1-65CA-645D40BEB792}"/>
          </ac:spMkLst>
        </pc:spChg>
        <pc:spChg chg="add mod">
          <ac:chgData name="Kümmerle, Markus" userId="edb588ad-b118-44cb-93b6-335b967c9009" providerId="ADAL" clId="{B82CC40D-97D3-4F7D-9D76-D5107F3005F0}" dt="2023-06-15T08:17:47.117" v="631" actId="1037"/>
          <ac:spMkLst>
            <pc:docMk/>
            <pc:sldMk cId="2111237129" sldId="2076"/>
            <ac:spMk id="30" creationId="{AACEF43F-3121-5356-449A-B93A68CB0E11}"/>
          </ac:spMkLst>
        </pc:spChg>
        <pc:graphicFrameChg chg="add mod ord modVis replST">
          <ac:chgData name="Kümmerle, Markus" userId="edb588ad-b118-44cb-93b6-335b967c9009" providerId="ADAL" clId="{B82CC40D-97D3-4F7D-9D76-D5107F3005F0}" dt="2023-06-29T12:38:46.356" v="1427"/>
          <ac:graphicFrameMkLst>
            <pc:docMk/>
            <pc:sldMk cId="2111237129" sldId="2076"/>
            <ac:graphicFrameMk id="29" creationId="{AC4A8D10-8CBE-8D35-CBC8-37202F6B7508}"/>
          </ac:graphicFrameMkLst>
        </pc:graphicFrameChg>
        <pc:picChg chg="add mod">
          <ac:chgData name="Kümmerle, Markus" userId="edb588ad-b118-44cb-93b6-335b967c9009" providerId="ADAL" clId="{B82CC40D-97D3-4F7D-9D76-D5107F3005F0}" dt="2023-06-14T12:54:28.780" v="214"/>
          <ac:picMkLst>
            <pc:docMk/>
            <pc:sldMk cId="2111237129" sldId="2076"/>
            <ac:picMk id="4" creationId="{BF79874D-9CB0-8A8F-48E8-5B17DD1C0C4F}"/>
          </ac:picMkLst>
        </pc:picChg>
        <pc:picChg chg="add mod">
          <ac:chgData name="Kümmerle, Markus" userId="edb588ad-b118-44cb-93b6-335b967c9009" providerId="ADAL" clId="{B82CC40D-97D3-4F7D-9D76-D5107F3005F0}" dt="2023-06-14T12:54:28.780" v="214"/>
          <ac:picMkLst>
            <pc:docMk/>
            <pc:sldMk cId="2111237129" sldId="2076"/>
            <ac:picMk id="5" creationId="{F1CA4C48-E52B-514D-E1E6-E9C6DC891105}"/>
          </ac:picMkLst>
        </pc:picChg>
        <pc:picChg chg="add mod">
          <ac:chgData name="Kümmerle, Markus" userId="edb588ad-b118-44cb-93b6-335b967c9009" providerId="ADAL" clId="{B82CC40D-97D3-4F7D-9D76-D5107F3005F0}" dt="2023-06-14T12:54:28.780" v="214"/>
          <ac:picMkLst>
            <pc:docMk/>
            <pc:sldMk cId="2111237129" sldId="2076"/>
            <ac:picMk id="6" creationId="{AF174E6E-68DF-6F45-1367-0D7C62B21AB7}"/>
          </ac:picMkLst>
        </pc:picChg>
        <pc:picChg chg="add mod">
          <ac:chgData name="Kümmerle, Markus" userId="edb588ad-b118-44cb-93b6-335b967c9009" providerId="ADAL" clId="{B82CC40D-97D3-4F7D-9D76-D5107F3005F0}" dt="2023-06-14T12:54:28.780" v="214"/>
          <ac:picMkLst>
            <pc:docMk/>
            <pc:sldMk cId="2111237129" sldId="2076"/>
            <ac:picMk id="7" creationId="{367E561F-3D9C-B6AD-73A7-C39CECE9389C}"/>
          </ac:picMkLst>
        </pc:picChg>
        <pc:picChg chg="add mod">
          <ac:chgData name="Kümmerle, Markus" userId="edb588ad-b118-44cb-93b6-335b967c9009" providerId="ADAL" clId="{B82CC40D-97D3-4F7D-9D76-D5107F3005F0}" dt="2023-06-14T12:54:28.780" v="214"/>
          <ac:picMkLst>
            <pc:docMk/>
            <pc:sldMk cId="2111237129" sldId="2076"/>
            <ac:picMk id="8" creationId="{A5706E9C-CE6C-F554-3CD8-97D4C3B12756}"/>
          </ac:picMkLst>
        </pc:picChg>
        <pc:picChg chg="add mod">
          <ac:chgData name="Kümmerle, Markus" userId="edb588ad-b118-44cb-93b6-335b967c9009" providerId="ADAL" clId="{B82CC40D-97D3-4F7D-9D76-D5107F3005F0}" dt="2023-06-14T12:54:28.780" v="214"/>
          <ac:picMkLst>
            <pc:docMk/>
            <pc:sldMk cId="2111237129" sldId="2076"/>
            <ac:picMk id="9" creationId="{4E6DBB05-A512-F117-9089-6566E2A85BCF}"/>
          </ac:picMkLst>
        </pc:picChg>
        <pc:picChg chg="add mod">
          <ac:chgData name="Kümmerle, Markus" userId="edb588ad-b118-44cb-93b6-335b967c9009" providerId="ADAL" clId="{B82CC40D-97D3-4F7D-9D76-D5107F3005F0}" dt="2023-06-14T12:54:28.780" v="214"/>
          <ac:picMkLst>
            <pc:docMk/>
            <pc:sldMk cId="2111237129" sldId="2076"/>
            <ac:picMk id="10" creationId="{B4CE17E0-A9DE-A067-29D7-4E95B4D7E5DA}"/>
          </ac:picMkLst>
        </pc:picChg>
        <pc:picChg chg="add mod">
          <ac:chgData name="Kümmerle, Markus" userId="edb588ad-b118-44cb-93b6-335b967c9009" providerId="ADAL" clId="{B82CC40D-97D3-4F7D-9D76-D5107F3005F0}" dt="2023-06-14T12:54:28.780" v="214"/>
          <ac:picMkLst>
            <pc:docMk/>
            <pc:sldMk cId="2111237129" sldId="2076"/>
            <ac:picMk id="11" creationId="{3CB53790-7F91-0056-0A55-38FCC8BD1A4F}"/>
          </ac:picMkLst>
        </pc:picChg>
        <pc:picChg chg="add mod">
          <ac:chgData name="Kümmerle, Markus" userId="edb588ad-b118-44cb-93b6-335b967c9009" providerId="ADAL" clId="{B82CC40D-97D3-4F7D-9D76-D5107F3005F0}" dt="2023-06-14T12:54:28.780" v="214"/>
          <ac:picMkLst>
            <pc:docMk/>
            <pc:sldMk cId="2111237129" sldId="2076"/>
            <ac:picMk id="12" creationId="{78334157-75AD-A85D-DFF0-F7347EADC12D}"/>
          </ac:picMkLst>
        </pc:picChg>
        <pc:picChg chg="add mod">
          <ac:chgData name="Kümmerle, Markus" userId="edb588ad-b118-44cb-93b6-335b967c9009" providerId="ADAL" clId="{B82CC40D-97D3-4F7D-9D76-D5107F3005F0}" dt="2023-06-14T12:54:28.780" v="214"/>
          <ac:picMkLst>
            <pc:docMk/>
            <pc:sldMk cId="2111237129" sldId="2076"/>
            <ac:picMk id="13" creationId="{552C0C9B-8461-4805-F4DE-7DEC2C2BC4C7}"/>
          </ac:picMkLst>
        </pc:picChg>
        <pc:picChg chg="add mod">
          <ac:chgData name="Kümmerle, Markus" userId="edb588ad-b118-44cb-93b6-335b967c9009" providerId="ADAL" clId="{B82CC40D-97D3-4F7D-9D76-D5107F3005F0}" dt="2023-06-14T12:54:28.780" v="214"/>
          <ac:picMkLst>
            <pc:docMk/>
            <pc:sldMk cId="2111237129" sldId="2076"/>
            <ac:picMk id="14" creationId="{F3596AD8-3954-6BA6-99EE-C43E3B0CA6A1}"/>
          </ac:picMkLst>
        </pc:picChg>
        <pc:picChg chg="add mod">
          <ac:chgData name="Kümmerle, Markus" userId="edb588ad-b118-44cb-93b6-335b967c9009" providerId="ADAL" clId="{B82CC40D-97D3-4F7D-9D76-D5107F3005F0}" dt="2023-06-14T12:54:28.780" v="214"/>
          <ac:picMkLst>
            <pc:docMk/>
            <pc:sldMk cId="2111237129" sldId="2076"/>
            <ac:picMk id="15" creationId="{62D79A66-336B-93F0-CC5C-8BB6191A4682}"/>
          </ac:picMkLst>
        </pc:picChg>
        <pc:picChg chg="add mod">
          <ac:chgData name="Kümmerle, Markus" userId="edb588ad-b118-44cb-93b6-335b967c9009" providerId="ADAL" clId="{B82CC40D-97D3-4F7D-9D76-D5107F3005F0}" dt="2023-06-14T12:54:28.780" v="214"/>
          <ac:picMkLst>
            <pc:docMk/>
            <pc:sldMk cId="2111237129" sldId="2076"/>
            <ac:picMk id="16" creationId="{DE639190-64E1-B3CF-31F1-D2D7CB7C4616}"/>
          </ac:picMkLst>
        </pc:picChg>
        <pc:picChg chg="add mod">
          <ac:chgData name="Kümmerle, Markus" userId="edb588ad-b118-44cb-93b6-335b967c9009" providerId="ADAL" clId="{B82CC40D-97D3-4F7D-9D76-D5107F3005F0}" dt="2023-06-14T12:54:28.780" v="214"/>
          <ac:picMkLst>
            <pc:docMk/>
            <pc:sldMk cId="2111237129" sldId="2076"/>
            <ac:picMk id="17" creationId="{7A8428C4-D2DB-67A5-FF58-5BFA91DC89EC}"/>
          </ac:picMkLst>
        </pc:picChg>
        <pc:picChg chg="add mod">
          <ac:chgData name="Kümmerle, Markus" userId="edb588ad-b118-44cb-93b6-335b967c9009" providerId="ADAL" clId="{B82CC40D-97D3-4F7D-9D76-D5107F3005F0}" dt="2023-06-14T12:54:28.780" v="214"/>
          <ac:picMkLst>
            <pc:docMk/>
            <pc:sldMk cId="2111237129" sldId="2076"/>
            <ac:picMk id="18" creationId="{BF6F67C8-C3C8-C772-545D-5BC6F7E5A7D3}"/>
          </ac:picMkLst>
        </pc:picChg>
        <pc:picChg chg="add mod">
          <ac:chgData name="Kümmerle, Markus" userId="edb588ad-b118-44cb-93b6-335b967c9009" providerId="ADAL" clId="{B82CC40D-97D3-4F7D-9D76-D5107F3005F0}" dt="2023-06-14T12:54:28.780" v="214"/>
          <ac:picMkLst>
            <pc:docMk/>
            <pc:sldMk cId="2111237129" sldId="2076"/>
            <ac:picMk id="19" creationId="{4933F0E0-3D59-0C28-09CF-2B2168350E4B}"/>
          </ac:picMkLst>
        </pc:picChg>
        <pc:picChg chg="add mod">
          <ac:chgData name="Kümmerle, Markus" userId="edb588ad-b118-44cb-93b6-335b967c9009" providerId="ADAL" clId="{B82CC40D-97D3-4F7D-9D76-D5107F3005F0}" dt="2023-06-14T12:54:28.780" v="214"/>
          <ac:picMkLst>
            <pc:docMk/>
            <pc:sldMk cId="2111237129" sldId="2076"/>
            <ac:picMk id="20" creationId="{84C89D20-948B-253A-6C61-80033DCDA2AF}"/>
          </ac:picMkLst>
        </pc:picChg>
        <pc:picChg chg="add mod">
          <ac:chgData name="Kümmerle, Markus" userId="edb588ad-b118-44cb-93b6-335b967c9009" providerId="ADAL" clId="{B82CC40D-97D3-4F7D-9D76-D5107F3005F0}" dt="2023-06-14T12:54:28.780" v="214"/>
          <ac:picMkLst>
            <pc:docMk/>
            <pc:sldMk cId="2111237129" sldId="2076"/>
            <ac:picMk id="21" creationId="{A9D10029-FA33-795F-D236-5F3952143AD7}"/>
          </ac:picMkLst>
        </pc:picChg>
        <pc:picChg chg="add mod">
          <ac:chgData name="Kümmerle, Markus" userId="edb588ad-b118-44cb-93b6-335b967c9009" providerId="ADAL" clId="{B82CC40D-97D3-4F7D-9D76-D5107F3005F0}" dt="2023-06-14T12:54:28.780" v="214"/>
          <ac:picMkLst>
            <pc:docMk/>
            <pc:sldMk cId="2111237129" sldId="2076"/>
            <ac:picMk id="22" creationId="{02C998D0-56F7-9C14-8EB7-C110D1F1EFE6}"/>
          </ac:picMkLst>
        </pc:picChg>
        <pc:picChg chg="add mod">
          <ac:chgData name="Kümmerle, Markus" userId="edb588ad-b118-44cb-93b6-335b967c9009" providerId="ADAL" clId="{B82CC40D-97D3-4F7D-9D76-D5107F3005F0}" dt="2023-06-14T12:54:28.780" v="214"/>
          <ac:picMkLst>
            <pc:docMk/>
            <pc:sldMk cId="2111237129" sldId="2076"/>
            <ac:picMk id="23" creationId="{6349E609-57DA-86BB-6206-FF70180AE258}"/>
          </ac:picMkLst>
        </pc:picChg>
        <pc:picChg chg="add mod">
          <ac:chgData name="Kümmerle, Markus" userId="edb588ad-b118-44cb-93b6-335b967c9009" providerId="ADAL" clId="{B82CC40D-97D3-4F7D-9D76-D5107F3005F0}" dt="2023-06-14T12:54:28.780" v="214"/>
          <ac:picMkLst>
            <pc:docMk/>
            <pc:sldMk cId="2111237129" sldId="2076"/>
            <ac:picMk id="24" creationId="{0BD65470-B76B-5761-A873-BFFDBD796436}"/>
          </ac:picMkLst>
        </pc:picChg>
        <pc:picChg chg="add mod">
          <ac:chgData name="Kümmerle, Markus" userId="edb588ad-b118-44cb-93b6-335b967c9009" providerId="ADAL" clId="{B82CC40D-97D3-4F7D-9D76-D5107F3005F0}" dt="2023-06-14T12:54:28.780" v="214"/>
          <ac:picMkLst>
            <pc:docMk/>
            <pc:sldMk cId="2111237129" sldId="2076"/>
            <ac:picMk id="25" creationId="{668762A9-F041-F8F1-0200-5AFE2D8C635B}"/>
          </ac:picMkLst>
        </pc:picChg>
        <pc:picChg chg="add mod">
          <ac:chgData name="Kümmerle, Markus" userId="edb588ad-b118-44cb-93b6-335b967c9009" providerId="ADAL" clId="{B82CC40D-97D3-4F7D-9D76-D5107F3005F0}" dt="2023-06-14T12:54:28.780" v="214"/>
          <ac:picMkLst>
            <pc:docMk/>
            <pc:sldMk cId="2111237129" sldId="2076"/>
            <ac:picMk id="26" creationId="{CA84E99E-F6BD-984C-179C-2F7E786217C5}"/>
          </ac:picMkLst>
        </pc:picChg>
        <pc:picChg chg="add mod">
          <ac:chgData name="Kümmerle, Markus" userId="edb588ad-b118-44cb-93b6-335b967c9009" providerId="ADAL" clId="{B82CC40D-97D3-4F7D-9D76-D5107F3005F0}" dt="2023-06-14T12:54:28.780" v="214"/>
          <ac:picMkLst>
            <pc:docMk/>
            <pc:sldMk cId="2111237129" sldId="2076"/>
            <ac:picMk id="27" creationId="{62A59B49-9693-33D3-FFAA-E16DF42BD9F2}"/>
          </ac:picMkLst>
        </pc:picChg>
      </pc:sldChg>
      <pc:sldChg chg="addSp delSp modSp new add mod">
        <pc:chgData name="Kümmerle, Markus" userId="edb588ad-b118-44cb-93b6-335b967c9009" providerId="ADAL" clId="{B82CC40D-97D3-4F7D-9D76-D5107F3005F0}" dt="2023-07-18T12:50:18.313" v="1917" actId="1076"/>
        <pc:sldMkLst>
          <pc:docMk/>
          <pc:sldMk cId="1195843399" sldId="2077"/>
        </pc:sldMkLst>
        <pc:spChg chg="mod">
          <ac:chgData name="Kümmerle, Markus" userId="edb588ad-b118-44cb-93b6-335b967c9009" providerId="ADAL" clId="{B82CC40D-97D3-4F7D-9D76-D5107F3005F0}" dt="2023-06-29T12:39:02.427" v="1512" actId="948"/>
          <ac:spMkLst>
            <pc:docMk/>
            <pc:sldMk cId="1195843399" sldId="2077"/>
            <ac:spMk id="2" creationId="{EED6EB8B-D65C-3BA4-F134-E6495C709A90}"/>
          </ac:spMkLst>
        </pc:spChg>
        <pc:spChg chg="add del mod modVis">
          <ac:chgData name="Kümmerle, Markus" userId="edb588ad-b118-44cb-93b6-335b967c9009" providerId="ADAL" clId="{B82CC40D-97D3-4F7D-9D76-D5107F3005F0}" dt="2023-06-29T12:36:53.193" v="1223"/>
          <ac:spMkLst>
            <pc:docMk/>
            <pc:sldMk cId="1195843399" sldId="2077"/>
            <ac:spMk id="3" creationId="{B0974E85-E7A9-45B6-A775-3A99DE55859D}"/>
          </ac:spMkLst>
        </pc:spChg>
        <pc:spChg chg="del">
          <ac:chgData name="Kümmerle, Markus" userId="edb588ad-b118-44cb-93b6-335b967c9009" providerId="ADAL" clId="{B82CC40D-97D3-4F7D-9D76-D5107F3005F0}" dt="2023-06-14T12:58:29.988" v="376" actId="478"/>
          <ac:spMkLst>
            <pc:docMk/>
            <pc:sldMk cId="1195843399" sldId="2077"/>
            <ac:spMk id="3" creationId="{ED369497-1D32-ECF6-66D5-91724AC0FC8A}"/>
          </ac:spMkLst>
        </pc:spChg>
        <pc:spChg chg="add del mod modVis">
          <ac:chgData name="Kümmerle, Markus" userId="edb588ad-b118-44cb-93b6-335b967c9009" providerId="ADAL" clId="{B82CC40D-97D3-4F7D-9D76-D5107F3005F0}" dt="2023-06-29T12:36:53.767" v="1250"/>
          <ac:spMkLst>
            <pc:docMk/>
            <pc:sldMk cId="1195843399" sldId="2077"/>
            <ac:spMk id="5" creationId="{4C19BF4D-413F-0D09-4C05-9ADE08739BE1}"/>
          </ac:spMkLst>
        </pc:spChg>
        <pc:spChg chg="add del mod modVis">
          <ac:chgData name="Kümmerle, Markus" userId="edb588ad-b118-44cb-93b6-335b967c9009" providerId="ADAL" clId="{B82CC40D-97D3-4F7D-9D76-D5107F3005F0}" dt="2023-06-14T12:57:44.898" v="373"/>
          <ac:spMkLst>
            <pc:docMk/>
            <pc:sldMk cId="1195843399" sldId="2077"/>
            <ac:spMk id="5" creationId="{D306BEC3-35C6-4485-F03E-339F063BDEA5}"/>
          </ac:spMkLst>
        </pc:spChg>
        <pc:spChg chg="add del mod modVis">
          <ac:chgData name="Kümmerle, Markus" userId="edb588ad-b118-44cb-93b6-335b967c9009" providerId="ADAL" clId="{B82CC40D-97D3-4F7D-9D76-D5107F3005F0}" dt="2023-06-29T12:38:55.880" v="1454"/>
          <ac:spMkLst>
            <pc:docMk/>
            <pc:sldMk cId="1195843399" sldId="2077"/>
            <ac:spMk id="6" creationId="{DD57A63F-D968-07BD-3602-B658AD65CD53}"/>
          </ac:spMkLst>
        </pc:spChg>
        <pc:spChg chg="add del mod modVis">
          <ac:chgData name="Kümmerle, Markus" userId="edb588ad-b118-44cb-93b6-335b967c9009" providerId="ADAL" clId="{B82CC40D-97D3-4F7D-9D76-D5107F3005F0}" dt="2023-06-29T12:38:57.202" v="1481"/>
          <ac:spMkLst>
            <pc:docMk/>
            <pc:sldMk cId="1195843399" sldId="2077"/>
            <ac:spMk id="7" creationId="{B0047CAD-5C7F-BD05-66B0-DC9757B2A310}"/>
          </ac:spMkLst>
        </pc:spChg>
        <pc:spChg chg="add del mod modVis">
          <ac:chgData name="Kümmerle, Markus" userId="edb588ad-b118-44cb-93b6-335b967c9009" providerId="ADAL" clId="{B82CC40D-97D3-4F7D-9D76-D5107F3005F0}" dt="2023-06-29T12:39:01.498" v="1508"/>
          <ac:spMkLst>
            <pc:docMk/>
            <pc:sldMk cId="1195843399" sldId="2077"/>
            <ac:spMk id="8" creationId="{4F529011-0524-FADF-E992-5A45E97C4A61}"/>
          </ac:spMkLst>
        </pc:spChg>
        <pc:spChg chg="add del mod">
          <ac:chgData name="Kümmerle, Markus" userId="edb588ad-b118-44cb-93b6-335b967c9009" providerId="ADAL" clId="{B82CC40D-97D3-4F7D-9D76-D5107F3005F0}" dt="2023-06-14T14:53:46.461" v="393" actId="478"/>
          <ac:spMkLst>
            <pc:docMk/>
            <pc:sldMk cId="1195843399" sldId="2077"/>
            <ac:spMk id="8" creationId="{E0B75D34-A636-D9FE-2D20-DCD920E4663A}"/>
          </ac:spMkLst>
        </pc:spChg>
        <pc:spChg chg="add del mod modVis">
          <ac:chgData name="Kümmerle, Markus" userId="edb588ad-b118-44cb-93b6-335b967c9009" providerId="ADAL" clId="{B82CC40D-97D3-4F7D-9D76-D5107F3005F0}" dt="2023-06-29T12:39:02.459" v="1535"/>
          <ac:spMkLst>
            <pc:docMk/>
            <pc:sldMk cId="1195843399" sldId="2077"/>
            <ac:spMk id="9" creationId="{81654668-D390-FBD9-6738-2DDB637AC9AF}"/>
          </ac:spMkLst>
        </pc:spChg>
        <pc:spChg chg="mod">
          <ac:chgData name="Kümmerle, Markus" userId="edb588ad-b118-44cb-93b6-335b967c9009" providerId="ADAL" clId="{B82CC40D-97D3-4F7D-9D76-D5107F3005F0}" dt="2023-06-14T12:58:39.020" v="378" actId="2711"/>
          <ac:spMkLst>
            <pc:docMk/>
            <pc:sldMk cId="1195843399" sldId="2077"/>
            <ac:spMk id="11" creationId="{F15A273D-C3E6-8AEB-B05A-528B8249654B}"/>
          </ac:spMkLst>
        </pc:spChg>
        <pc:spChg chg="mod">
          <ac:chgData name="Kümmerle, Markus" userId="edb588ad-b118-44cb-93b6-335b967c9009" providerId="ADAL" clId="{B82CC40D-97D3-4F7D-9D76-D5107F3005F0}" dt="2023-06-14T12:58:39.020" v="378" actId="2711"/>
          <ac:spMkLst>
            <pc:docMk/>
            <pc:sldMk cId="1195843399" sldId="2077"/>
            <ac:spMk id="12" creationId="{9B6CDDB3-E75B-E3BE-3D8C-05FF5CC2028C}"/>
          </ac:spMkLst>
        </pc:spChg>
        <pc:spChg chg="add del mod">
          <ac:chgData name="Kümmerle, Markus" userId="edb588ad-b118-44cb-93b6-335b967c9009" providerId="ADAL" clId="{B82CC40D-97D3-4F7D-9D76-D5107F3005F0}" dt="2023-06-14T14:53:46.461" v="393" actId="478"/>
          <ac:spMkLst>
            <pc:docMk/>
            <pc:sldMk cId="1195843399" sldId="2077"/>
            <ac:spMk id="13" creationId="{C09ED8A9-A6FB-E35E-2225-994E0B4AB99E}"/>
          </ac:spMkLst>
        </pc:spChg>
        <pc:spChg chg="add del mod">
          <ac:chgData name="Kümmerle, Markus" userId="edb588ad-b118-44cb-93b6-335b967c9009" providerId="ADAL" clId="{B82CC40D-97D3-4F7D-9D76-D5107F3005F0}" dt="2023-06-14T14:53:46.461" v="393" actId="478"/>
          <ac:spMkLst>
            <pc:docMk/>
            <pc:sldMk cId="1195843399" sldId="2077"/>
            <ac:spMk id="14" creationId="{F1AF89F3-EFF7-73E2-88F4-4DAEDA8262EF}"/>
          </ac:spMkLst>
        </pc:spChg>
        <pc:spChg chg="add del mod">
          <ac:chgData name="Kümmerle, Markus" userId="edb588ad-b118-44cb-93b6-335b967c9009" providerId="ADAL" clId="{B82CC40D-97D3-4F7D-9D76-D5107F3005F0}" dt="2023-06-14T14:53:46.461" v="393" actId="478"/>
          <ac:spMkLst>
            <pc:docMk/>
            <pc:sldMk cId="1195843399" sldId="2077"/>
            <ac:spMk id="15" creationId="{FBE9EC44-E603-B728-580D-F4A5920D5291}"/>
          </ac:spMkLst>
        </pc:spChg>
        <pc:spChg chg="mod">
          <ac:chgData name="Kümmerle, Markus" userId="edb588ad-b118-44cb-93b6-335b967c9009" providerId="ADAL" clId="{B82CC40D-97D3-4F7D-9D76-D5107F3005F0}" dt="2023-06-14T12:58:30.888" v="377"/>
          <ac:spMkLst>
            <pc:docMk/>
            <pc:sldMk cId="1195843399" sldId="2077"/>
            <ac:spMk id="48" creationId="{6029FE19-A494-0363-D428-D55411AD24F5}"/>
          </ac:spMkLst>
        </pc:spChg>
        <pc:spChg chg="mod">
          <ac:chgData name="Kümmerle, Markus" userId="edb588ad-b118-44cb-93b6-335b967c9009" providerId="ADAL" clId="{B82CC40D-97D3-4F7D-9D76-D5107F3005F0}" dt="2023-06-14T12:58:30.888" v="377"/>
          <ac:spMkLst>
            <pc:docMk/>
            <pc:sldMk cId="1195843399" sldId="2077"/>
            <ac:spMk id="60" creationId="{35128D1C-EAC7-9765-4240-87D2A06AA9A4}"/>
          </ac:spMkLst>
        </pc:spChg>
        <pc:spChg chg="mod">
          <ac:chgData name="Kümmerle, Markus" userId="edb588ad-b118-44cb-93b6-335b967c9009" providerId="ADAL" clId="{B82CC40D-97D3-4F7D-9D76-D5107F3005F0}" dt="2023-06-14T12:58:30.888" v="377"/>
          <ac:spMkLst>
            <pc:docMk/>
            <pc:sldMk cId="1195843399" sldId="2077"/>
            <ac:spMk id="61" creationId="{14871F8E-F040-6C12-14D1-1220B6FE5F94}"/>
          </ac:spMkLst>
        </pc:spChg>
        <pc:spChg chg="mod">
          <ac:chgData name="Kümmerle, Markus" userId="edb588ad-b118-44cb-93b6-335b967c9009" providerId="ADAL" clId="{B82CC40D-97D3-4F7D-9D76-D5107F3005F0}" dt="2023-06-14T12:58:30.888" v="377"/>
          <ac:spMkLst>
            <pc:docMk/>
            <pc:sldMk cId="1195843399" sldId="2077"/>
            <ac:spMk id="62" creationId="{EDCC2F15-495B-0728-B3A7-6BC294FA8F16}"/>
          </ac:spMkLst>
        </pc:spChg>
        <pc:spChg chg="add del mod">
          <ac:chgData name="Kümmerle, Markus" userId="edb588ad-b118-44cb-93b6-335b967c9009" providerId="ADAL" clId="{B82CC40D-97D3-4F7D-9D76-D5107F3005F0}" dt="2023-06-14T14:53:46.461" v="393" actId="478"/>
          <ac:spMkLst>
            <pc:docMk/>
            <pc:sldMk cId="1195843399" sldId="2077"/>
            <ac:spMk id="66" creationId="{5020E21F-8BEF-80E1-8CFE-B418B7531B6B}"/>
          </ac:spMkLst>
        </pc:spChg>
        <pc:spChg chg="add del mod">
          <ac:chgData name="Kümmerle, Markus" userId="edb588ad-b118-44cb-93b6-335b967c9009" providerId="ADAL" clId="{B82CC40D-97D3-4F7D-9D76-D5107F3005F0}" dt="2023-06-14T14:53:46.461" v="393" actId="478"/>
          <ac:spMkLst>
            <pc:docMk/>
            <pc:sldMk cId="1195843399" sldId="2077"/>
            <ac:spMk id="68" creationId="{619892D9-EBDA-D26D-F712-A63FBA614E49}"/>
          </ac:spMkLst>
        </pc:spChg>
        <pc:spChg chg="mod">
          <ac:chgData name="Kümmerle, Markus" userId="edb588ad-b118-44cb-93b6-335b967c9009" providerId="ADAL" clId="{B82CC40D-97D3-4F7D-9D76-D5107F3005F0}" dt="2023-06-14T12:58:39.020" v="378" actId="2711"/>
          <ac:spMkLst>
            <pc:docMk/>
            <pc:sldMk cId="1195843399" sldId="2077"/>
            <ac:spMk id="71" creationId="{CA857E99-AC04-AA14-0799-9566C7C12008}"/>
          </ac:spMkLst>
        </pc:spChg>
        <pc:spChg chg="mod">
          <ac:chgData name="Kümmerle, Markus" userId="edb588ad-b118-44cb-93b6-335b967c9009" providerId="ADAL" clId="{B82CC40D-97D3-4F7D-9D76-D5107F3005F0}" dt="2023-06-14T12:58:39.020" v="378" actId="2711"/>
          <ac:spMkLst>
            <pc:docMk/>
            <pc:sldMk cId="1195843399" sldId="2077"/>
            <ac:spMk id="72" creationId="{15EC1DC8-5C0B-E485-D1DB-B91DC4F5AD72}"/>
          </ac:spMkLst>
        </pc:spChg>
        <pc:spChg chg="add del mod">
          <ac:chgData name="Kümmerle, Markus" userId="edb588ad-b118-44cb-93b6-335b967c9009" providerId="ADAL" clId="{B82CC40D-97D3-4F7D-9D76-D5107F3005F0}" dt="2023-06-14T14:53:46.461" v="393" actId="478"/>
          <ac:spMkLst>
            <pc:docMk/>
            <pc:sldMk cId="1195843399" sldId="2077"/>
            <ac:spMk id="73" creationId="{056D2A27-83E6-1B07-F311-C525405909AC}"/>
          </ac:spMkLst>
        </pc:spChg>
        <pc:spChg chg="add del mod">
          <ac:chgData name="Kümmerle, Markus" userId="edb588ad-b118-44cb-93b6-335b967c9009" providerId="ADAL" clId="{B82CC40D-97D3-4F7D-9D76-D5107F3005F0}" dt="2023-06-14T14:53:46.461" v="393" actId="478"/>
          <ac:spMkLst>
            <pc:docMk/>
            <pc:sldMk cId="1195843399" sldId="2077"/>
            <ac:spMk id="75" creationId="{74142566-CC02-8822-DE6E-23F448C42368}"/>
          </ac:spMkLst>
        </pc:spChg>
        <pc:spChg chg="add del mod">
          <ac:chgData name="Kümmerle, Markus" userId="edb588ad-b118-44cb-93b6-335b967c9009" providerId="ADAL" clId="{B82CC40D-97D3-4F7D-9D76-D5107F3005F0}" dt="2023-06-14T14:53:46.461" v="393" actId="478"/>
          <ac:spMkLst>
            <pc:docMk/>
            <pc:sldMk cId="1195843399" sldId="2077"/>
            <ac:spMk id="76" creationId="{88D3CE2D-E0A1-274D-FA1A-384DA5AA114E}"/>
          </ac:spMkLst>
        </pc:spChg>
        <pc:grpChg chg="add del mod">
          <ac:chgData name="Kümmerle, Markus" userId="edb588ad-b118-44cb-93b6-335b967c9009" providerId="ADAL" clId="{B82CC40D-97D3-4F7D-9D76-D5107F3005F0}" dt="2023-06-14T14:53:46.461" v="393" actId="478"/>
          <ac:grpSpMkLst>
            <pc:docMk/>
            <pc:sldMk cId="1195843399" sldId="2077"/>
            <ac:grpSpMk id="10" creationId="{948383E8-BB59-F129-EBF0-0BF0296B9B00}"/>
          </ac:grpSpMkLst>
        </pc:grpChg>
        <pc:grpChg chg="add del mod">
          <ac:chgData name="Kümmerle, Markus" userId="edb588ad-b118-44cb-93b6-335b967c9009" providerId="ADAL" clId="{B82CC40D-97D3-4F7D-9D76-D5107F3005F0}" dt="2023-06-14T14:53:46.461" v="393" actId="478"/>
          <ac:grpSpMkLst>
            <pc:docMk/>
            <pc:sldMk cId="1195843399" sldId="2077"/>
            <ac:grpSpMk id="47" creationId="{54E90AE8-3079-D544-EC3D-98A74768E50B}"/>
          </ac:grpSpMkLst>
        </pc:grpChg>
        <pc:grpChg chg="mod">
          <ac:chgData name="Kümmerle, Markus" userId="edb588ad-b118-44cb-93b6-335b967c9009" providerId="ADAL" clId="{B82CC40D-97D3-4F7D-9D76-D5107F3005F0}" dt="2023-06-14T12:58:30.888" v="377"/>
          <ac:grpSpMkLst>
            <pc:docMk/>
            <pc:sldMk cId="1195843399" sldId="2077"/>
            <ac:grpSpMk id="49" creationId="{E23A25BD-9B10-ED2B-F730-6E38EB0D84E6}"/>
          </ac:grpSpMkLst>
        </pc:grpChg>
        <pc:grpChg chg="mod">
          <ac:chgData name="Kümmerle, Markus" userId="edb588ad-b118-44cb-93b6-335b967c9009" providerId="ADAL" clId="{B82CC40D-97D3-4F7D-9D76-D5107F3005F0}" dt="2023-06-14T12:58:30.888" v="377"/>
          <ac:grpSpMkLst>
            <pc:docMk/>
            <pc:sldMk cId="1195843399" sldId="2077"/>
            <ac:grpSpMk id="56" creationId="{D1A9B923-9DBA-9085-1CAA-5777AB352088}"/>
          </ac:grpSpMkLst>
        </pc:grpChg>
        <pc:grpChg chg="add del mod">
          <ac:chgData name="Kümmerle, Markus" userId="edb588ad-b118-44cb-93b6-335b967c9009" providerId="ADAL" clId="{B82CC40D-97D3-4F7D-9D76-D5107F3005F0}" dt="2023-06-14T14:53:46.461" v="393" actId="478"/>
          <ac:grpSpMkLst>
            <pc:docMk/>
            <pc:sldMk cId="1195843399" sldId="2077"/>
            <ac:grpSpMk id="70" creationId="{F03B2E9C-E16B-F023-0697-50C7B0BD8B7C}"/>
          </ac:grpSpMkLst>
        </pc:grpChg>
        <pc:graphicFrameChg chg="add mod ord modVis replST">
          <ac:chgData name="Kümmerle, Markus" userId="edb588ad-b118-44cb-93b6-335b967c9009" providerId="ADAL" clId="{B82CC40D-97D3-4F7D-9D76-D5107F3005F0}" dt="2023-06-29T12:39:02.462" v="1537"/>
          <ac:graphicFrameMkLst>
            <pc:docMk/>
            <pc:sldMk cId="1195843399" sldId="2077"/>
            <ac:graphicFrameMk id="4" creationId="{F05755EA-BC14-4636-4CFB-DD33F1EC1DA5}"/>
          </ac:graphicFrameMkLst>
        </pc:graphicFrameChg>
        <pc:picChg chg="add mod">
          <ac:chgData name="Kümmerle, Markus" userId="edb588ad-b118-44cb-93b6-335b967c9009" providerId="ADAL" clId="{B82CC40D-97D3-4F7D-9D76-D5107F3005F0}" dt="2023-07-18T12:50:18.313" v="1917" actId="1076"/>
          <ac:picMkLst>
            <pc:docMk/>
            <pc:sldMk cId="1195843399" sldId="2077"/>
            <ac:picMk id="5" creationId="{9A6BF7CC-BB5D-D0D6-0C68-94B00EA83962}"/>
          </ac:picMkLst>
        </pc:picChg>
        <pc:picChg chg="add del mod">
          <ac:chgData name="Kümmerle, Markus" userId="edb588ad-b118-44cb-93b6-335b967c9009" providerId="ADAL" clId="{B82CC40D-97D3-4F7D-9D76-D5107F3005F0}" dt="2023-06-14T14:53:46.461" v="393" actId="478"/>
          <ac:picMkLst>
            <pc:docMk/>
            <pc:sldMk cId="1195843399" sldId="2077"/>
            <ac:picMk id="7" creationId="{AE8D3F03-307E-287A-BBB1-580AA60FCD65}"/>
          </ac:picMkLst>
        </pc:picChg>
        <pc:picChg chg="add del mod">
          <ac:chgData name="Kümmerle, Markus" userId="edb588ad-b118-44cb-93b6-335b967c9009" providerId="ADAL" clId="{B82CC40D-97D3-4F7D-9D76-D5107F3005F0}" dt="2023-06-14T14:53:46.461" v="393" actId="478"/>
          <ac:picMkLst>
            <pc:docMk/>
            <pc:sldMk cId="1195843399" sldId="2077"/>
            <ac:picMk id="18" creationId="{E791E17A-24DA-4FB9-4B0D-E7986B8825D2}"/>
          </ac:picMkLst>
        </pc:picChg>
        <pc:picChg chg="add del mod">
          <ac:chgData name="Kümmerle, Markus" userId="edb588ad-b118-44cb-93b6-335b967c9009" providerId="ADAL" clId="{B82CC40D-97D3-4F7D-9D76-D5107F3005F0}" dt="2023-06-14T14:53:46.461" v="393" actId="478"/>
          <ac:picMkLst>
            <pc:docMk/>
            <pc:sldMk cId="1195843399" sldId="2077"/>
            <ac:picMk id="19" creationId="{B7E4C7D9-B2BB-149D-C4D3-E1D06F721293}"/>
          </ac:picMkLst>
        </pc:picChg>
        <pc:picChg chg="add del mod">
          <ac:chgData name="Kümmerle, Markus" userId="edb588ad-b118-44cb-93b6-335b967c9009" providerId="ADAL" clId="{B82CC40D-97D3-4F7D-9D76-D5107F3005F0}" dt="2023-06-14T14:53:46.461" v="393" actId="478"/>
          <ac:picMkLst>
            <pc:docMk/>
            <pc:sldMk cId="1195843399" sldId="2077"/>
            <ac:picMk id="20" creationId="{DACDBB63-B7D4-7ABA-090D-147DB581F6A8}"/>
          </ac:picMkLst>
        </pc:picChg>
        <pc:picChg chg="add del mod">
          <ac:chgData name="Kümmerle, Markus" userId="edb588ad-b118-44cb-93b6-335b967c9009" providerId="ADAL" clId="{B82CC40D-97D3-4F7D-9D76-D5107F3005F0}" dt="2023-06-14T14:53:46.461" v="393" actId="478"/>
          <ac:picMkLst>
            <pc:docMk/>
            <pc:sldMk cId="1195843399" sldId="2077"/>
            <ac:picMk id="21" creationId="{49EE83EC-47C9-9CE7-650D-E46BFF81B337}"/>
          </ac:picMkLst>
        </pc:picChg>
        <pc:picChg chg="add del mod">
          <ac:chgData name="Kümmerle, Markus" userId="edb588ad-b118-44cb-93b6-335b967c9009" providerId="ADAL" clId="{B82CC40D-97D3-4F7D-9D76-D5107F3005F0}" dt="2023-06-14T14:53:46.461" v="393" actId="478"/>
          <ac:picMkLst>
            <pc:docMk/>
            <pc:sldMk cId="1195843399" sldId="2077"/>
            <ac:picMk id="22" creationId="{BCCA6B59-EBEF-C6BA-3ECF-6C627C22E0CB}"/>
          </ac:picMkLst>
        </pc:picChg>
        <pc:picChg chg="add del mod">
          <ac:chgData name="Kümmerle, Markus" userId="edb588ad-b118-44cb-93b6-335b967c9009" providerId="ADAL" clId="{B82CC40D-97D3-4F7D-9D76-D5107F3005F0}" dt="2023-06-14T14:53:46.461" v="393" actId="478"/>
          <ac:picMkLst>
            <pc:docMk/>
            <pc:sldMk cId="1195843399" sldId="2077"/>
            <ac:picMk id="23" creationId="{D69B7AE9-ADE8-A92C-101F-DF013C262CED}"/>
          </ac:picMkLst>
        </pc:picChg>
        <pc:picChg chg="add del mod">
          <ac:chgData name="Kümmerle, Markus" userId="edb588ad-b118-44cb-93b6-335b967c9009" providerId="ADAL" clId="{B82CC40D-97D3-4F7D-9D76-D5107F3005F0}" dt="2023-06-14T14:53:46.461" v="393" actId="478"/>
          <ac:picMkLst>
            <pc:docMk/>
            <pc:sldMk cId="1195843399" sldId="2077"/>
            <ac:picMk id="24" creationId="{3855C2BB-33B1-17E5-BFBC-9FD28D5FE75B}"/>
          </ac:picMkLst>
        </pc:picChg>
        <pc:picChg chg="add del mod">
          <ac:chgData name="Kümmerle, Markus" userId="edb588ad-b118-44cb-93b6-335b967c9009" providerId="ADAL" clId="{B82CC40D-97D3-4F7D-9D76-D5107F3005F0}" dt="2023-06-14T14:53:46.461" v="393" actId="478"/>
          <ac:picMkLst>
            <pc:docMk/>
            <pc:sldMk cId="1195843399" sldId="2077"/>
            <ac:picMk id="25" creationId="{1C16A002-CDC0-EEC7-039D-4189C887C4EE}"/>
          </ac:picMkLst>
        </pc:picChg>
        <pc:picChg chg="add del mod">
          <ac:chgData name="Kümmerle, Markus" userId="edb588ad-b118-44cb-93b6-335b967c9009" providerId="ADAL" clId="{B82CC40D-97D3-4F7D-9D76-D5107F3005F0}" dt="2023-06-14T14:53:46.461" v="393" actId="478"/>
          <ac:picMkLst>
            <pc:docMk/>
            <pc:sldMk cId="1195843399" sldId="2077"/>
            <ac:picMk id="26" creationId="{60187D20-98D8-9DD1-3E04-7968F0B20763}"/>
          </ac:picMkLst>
        </pc:picChg>
        <pc:picChg chg="add del mod">
          <ac:chgData name="Kümmerle, Markus" userId="edb588ad-b118-44cb-93b6-335b967c9009" providerId="ADAL" clId="{B82CC40D-97D3-4F7D-9D76-D5107F3005F0}" dt="2023-06-14T14:53:46.461" v="393" actId="478"/>
          <ac:picMkLst>
            <pc:docMk/>
            <pc:sldMk cId="1195843399" sldId="2077"/>
            <ac:picMk id="27" creationId="{D0F39888-B441-F71C-2992-6DCA298B40B1}"/>
          </ac:picMkLst>
        </pc:picChg>
        <pc:picChg chg="add del mod">
          <ac:chgData name="Kümmerle, Markus" userId="edb588ad-b118-44cb-93b6-335b967c9009" providerId="ADAL" clId="{B82CC40D-97D3-4F7D-9D76-D5107F3005F0}" dt="2023-06-14T14:53:46.461" v="393" actId="478"/>
          <ac:picMkLst>
            <pc:docMk/>
            <pc:sldMk cId="1195843399" sldId="2077"/>
            <ac:picMk id="28" creationId="{F883A3D1-208A-3CEF-33E9-FEE4E6FBF5E3}"/>
          </ac:picMkLst>
        </pc:picChg>
        <pc:picChg chg="add del mod">
          <ac:chgData name="Kümmerle, Markus" userId="edb588ad-b118-44cb-93b6-335b967c9009" providerId="ADAL" clId="{B82CC40D-97D3-4F7D-9D76-D5107F3005F0}" dt="2023-06-14T14:53:46.461" v="393" actId="478"/>
          <ac:picMkLst>
            <pc:docMk/>
            <pc:sldMk cId="1195843399" sldId="2077"/>
            <ac:picMk id="29" creationId="{CE4BC8E3-8822-3E21-3D0E-22185C50A98C}"/>
          </ac:picMkLst>
        </pc:picChg>
        <pc:picChg chg="add del mod">
          <ac:chgData name="Kümmerle, Markus" userId="edb588ad-b118-44cb-93b6-335b967c9009" providerId="ADAL" clId="{B82CC40D-97D3-4F7D-9D76-D5107F3005F0}" dt="2023-06-14T14:53:46.461" v="393" actId="478"/>
          <ac:picMkLst>
            <pc:docMk/>
            <pc:sldMk cId="1195843399" sldId="2077"/>
            <ac:picMk id="30" creationId="{55AF2EDD-1C86-CDF1-62F3-13ABFCC6E134}"/>
          </ac:picMkLst>
        </pc:picChg>
        <pc:picChg chg="add del mod">
          <ac:chgData name="Kümmerle, Markus" userId="edb588ad-b118-44cb-93b6-335b967c9009" providerId="ADAL" clId="{B82CC40D-97D3-4F7D-9D76-D5107F3005F0}" dt="2023-06-14T14:53:46.461" v="393" actId="478"/>
          <ac:picMkLst>
            <pc:docMk/>
            <pc:sldMk cId="1195843399" sldId="2077"/>
            <ac:picMk id="31" creationId="{2CC4F0BA-EF7B-D14D-77ED-76C461687C27}"/>
          </ac:picMkLst>
        </pc:picChg>
        <pc:picChg chg="add del mod">
          <ac:chgData name="Kümmerle, Markus" userId="edb588ad-b118-44cb-93b6-335b967c9009" providerId="ADAL" clId="{B82CC40D-97D3-4F7D-9D76-D5107F3005F0}" dt="2023-06-14T14:53:46.461" v="393" actId="478"/>
          <ac:picMkLst>
            <pc:docMk/>
            <pc:sldMk cId="1195843399" sldId="2077"/>
            <ac:picMk id="32" creationId="{67C53DAD-12B1-5C0F-C396-402B64534E05}"/>
          </ac:picMkLst>
        </pc:picChg>
        <pc:picChg chg="add del mod">
          <ac:chgData name="Kümmerle, Markus" userId="edb588ad-b118-44cb-93b6-335b967c9009" providerId="ADAL" clId="{B82CC40D-97D3-4F7D-9D76-D5107F3005F0}" dt="2023-06-14T14:53:46.461" v="393" actId="478"/>
          <ac:picMkLst>
            <pc:docMk/>
            <pc:sldMk cId="1195843399" sldId="2077"/>
            <ac:picMk id="33" creationId="{A1D10E28-1911-ECBF-84A3-CAE3530C900D}"/>
          </ac:picMkLst>
        </pc:picChg>
        <pc:picChg chg="add del mod">
          <ac:chgData name="Kümmerle, Markus" userId="edb588ad-b118-44cb-93b6-335b967c9009" providerId="ADAL" clId="{B82CC40D-97D3-4F7D-9D76-D5107F3005F0}" dt="2023-06-14T14:53:46.461" v="393" actId="478"/>
          <ac:picMkLst>
            <pc:docMk/>
            <pc:sldMk cId="1195843399" sldId="2077"/>
            <ac:picMk id="34" creationId="{100D4E5E-DA1B-2FF0-53D6-C9CFD4D544A3}"/>
          </ac:picMkLst>
        </pc:picChg>
        <pc:picChg chg="add del mod">
          <ac:chgData name="Kümmerle, Markus" userId="edb588ad-b118-44cb-93b6-335b967c9009" providerId="ADAL" clId="{B82CC40D-97D3-4F7D-9D76-D5107F3005F0}" dt="2023-06-14T14:53:46.461" v="393" actId="478"/>
          <ac:picMkLst>
            <pc:docMk/>
            <pc:sldMk cId="1195843399" sldId="2077"/>
            <ac:picMk id="35" creationId="{92004A7B-D451-B5EC-8392-5F529D67121F}"/>
          </ac:picMkLst>
        </pc:picChg>
        <pc:picChg chg="add del mod">
          <ac:chgData name="Kümmerle, Markus" userId="edb588ad-b118-44cb-93b6-335b967c9009" providerId="ADAL" clId="{B82CC40D-97D3-4F7D-9D76-D5107F3005F0}" dt="2023-06-14T14:53:46.461" v="393" actId="478"/>
          <ac:picMkLst>
            <pc:docMk/>
            <pc:sldMk cId="1195843399" sldId="2077"/>
            <ac:picMk id="36" creationId="{0AE64AFC-FC6C-568E-9673-AE242D9CD8DC}"/>
          </ac:picMkLst>
        </pc:picChg>
        <pc:picChg chg="add del mod">
          <ac:chgData name="Kümmerle, Markus" userId="edb588ad-b118-44cb-93b6-335b967c9009" providerId="ADAL" clId="{B82CC40D-97D3-4F7D-9D76-D5107F3005F0}" dt="2023-06-14T14:53:46.461" v="393" actId="478"/>
          <ac:picMkLst>
            <pc:docMk/>
            <pc:sldMk cId="1195843399" sldId="2077"/>
            <ac:picMk id="37" creationId="{B4DDDBAC-34AF-7CA2-330B-F355DFB0B937}"/>
          </ac:picMkLst>
        </pc:picChg>
        <pc:picChg chg="add del mod">
          <ac:chgData name="Kümmerle, Markus" userId="edb588ad-b118-44cb-93b6-335b967c9009" providerId="ADAL" clId="{B82CC40D-97D3-4F7D-9D76-D5107F3005F0}" dt="2023-06-14T14:53:46.461" v="393" actId="478"/>
          <ac:picMkLst>
            <pc:docMk/>
            <pc:sldMk cId="1195843399" sldId="2077"/>
            <ac:picMk id="38" creationId="{3A3A9817-D8DC-DE94-2E5C-D196D781A757}"/>
          </ac:picMkLst>
        </pc:picChg>
        <pc:picChg chg="add del mod">
          <ac:chgData name="Kümmerle, Markus" userId="edb588ad-b118-44cb-93b6-335b967c9009" providerId="ADAL" clId="{B82CC40D-97D3-4F7D-9D76-D5107F3005F0}" dt="2023-06-14T14:53:46.461" v="393" actId="478"/>
          <ac:picMkLst>
            <pc:docMk/>
            <pc:sldMk cId="1195843399" sldId="2077"/>
            <ac:picMk id="39" creationId="{46B8FDB9-AFD3-C037-B561-D6FC721772BC}"/>
          </ac:picMkLst>
        </pc:picChg>
        <pc:picChg chg="add del mod">
          <ac:chgData name="Kümmerle, Markus" userId="edb588ad-b118-44cb-93b6-335b967c9009" providerId="ADAL" clId="{B82CC40D-97D3-4F7D-9D76-D5107F3005F0}" dt="2023-06-14T14:53:46.461" v="393" actId="478"/>
          <ac:picMkLst>
            <pc:docMk/>
            <pc:sldMk cId="1195843399" sldId="2077"/>
            <ac:picMk id="40" creationId="{803EE16E-5DE1-2912-B232-2087B36E8682}"/>
          </ac:picMkLst>
        </pc:picChg>
        <pc:picChg chg="add del mod">
          <ac:chgData name="Kümmerle, Markus" userId="edb588ad-b118-44cb-93b6-335b967c9009" providerId="ADAL" clId="{B82CC40D-97D3-4F7D-9D76-D5107F3005F0}" dt="2023-06-14T14:53:46.461" v="393" actId="478"/>
          <ac:picMkLst>
            <pc:docMk/>
            <pc:sldMk cId="1195843399" sldId="2077"/>
            <ac:picMk id="41" creationId="{5AEE3B8D-137C-DD73-75EE-82078B2D1996}"/>
          </ac:picMkLst>
        </pc:picChg>
        <pc:picChg chg="add del mod">
          <ac:chgData name="Kümmerle, Markus" userId="edb588ad-b118-44cb-93b6-335b967c9009" providerId="ADAL" clId="{B82CC40D-97D3-4F7D-9D76-D5107F3005F0}" dt="2023-06-14T14:53:46.461" v="393" actId="478"/>
          <ac:picMkLst>
            <pc:docMk/>
            <pc:sldMk cId="1195843399" sldId="2077"/>
            <ac:picMk id="42" creationId="{B3703F6D-7E8A-6E3E-D2A1-91503C814BAC}"/>
          </ac:picMkLst>
        </pc:picChg>
        <pc:picChg chg="add del mod">
          <ac:chgData name="Kümmerle, Markus" userId="edb588ad-b118-44cb-93b6-335b967c9009" providerId="ADAL" clId="{B82CC40D-97D3-4F7D-9D76-D5107F3005F0}" dt="2023-06-14T14:53:46.461" v="393" actId="478"/>
          <ac:picMkLst>
            <pc:docMk/>
            <pc:sldMk cId="1195843399" sldId="2077"/>
            <ac:picMk id="43" creationId="{8895BDFB-FF69-1BD9-9D23-0EB9EA1DEDA7}"/>
          </ac:picMkLst>
        </pc:picChg>
        <pc:picChg chg="add del mod">
          <ac:chgData name="Kümmerle, Markus" userId="edb588ad-b118-44cb-93b6-335b967c9009" providerId="ADAL" clId="{B82CC40D-97D3-4F7D-9D76-D5107F3005F0}" dt="2023-06-14T14:53:46.461" v="393" actId="478"/>
          <ac:picMkLst>
            <pc:docMk/>
            <pc:sldMk cId="1195843399" sldId="2077"/>
            <ac:picMk id="44" creationId="{8DD736F0-A0D6-6349-7149-565DF0E67A35}"/>
          </ac:picMkLst>
        </pc:picChg>
        <pc:picChg chg="add del mod">
          <ac:chgData name="Kümmerle, Markus" userId="edb588ad-b118-44cb-93b6-335b967c9009" providerId="ADAL" clId="{B82CC40D-97D3-4F7D-9D76-D5107F3005F0}" dt="2023-06-14T14:53:46.461" v="393" actId="478"/>
          <ac:picMkLst>
            <pc:docMk/>
            <pc:sldMk cId="1195843399" sldId="2077"/>
            <ac:picMk id="45" creationId="{CAEF978A-E683-28B0-BACA-9666D7386476}"/>
          </ac:picMkLst>
        </pc:picChg>
        <pc:picChg chg="add del mod">
          <ac:chgData name="Kümmerle, Markus" userId="edb588ad-b118-44cb-93b6-335b967c9009" providerId="ADAL" clId="{B82CC40D-97D3-4F7D-9D76-D5107F3005F0}" dt="2023-06-14T14:53:46.461" v="393" actId="478"/>
          <ac:picMkLst>
            <pc:docMk/>
            <pc:sldMk cId="1195843399" sldId="2077"/>
            <ac:picMk id="46" creationId="{A3D629CE-826F-4E35-C7D7-FBD97D2971CD}"/>
          </ac:picMkLst>
        </pc:picChg>
        <pc:picChg chg="mod">
          <ac:chgData name="Kümmerle, Markus" userId="edb588ad-b118-44cb-93b6-335b967c9009" providerId="ADAL" clId="{B82CC40D-97D3-4F7D-9D76-D5107F3005F0}" dt="2023-06-14T12:58:30.888" v="377"/>
          <ac:picMkLst>
            <pc:docMk/>
            <pc:sldMk cId="1195843399" sldId="2077"/>
            <ac:picMk id="50" creationId="{0872E02C-1C10-A376-9138-7911CF1D5BDB}"/>
          </ac:picMkLst>
        </pc:picChg>
        <pc:picChg chg="mod">
          <ac:chgData name="Kümmerle, Markus" userId="edb588ad-b118-44cb-93b6-335b967c9009" providerId="ADAL" clId="{B82CC40D-97D3-4F7D-9D76-D5107F3005F0}" dt="2023-06-14T12:58:30.888" v="377"/>
          <ac:picMkLst>
            <pc:docMk/>
            <pc:sldMk cId="1195843399" sldId="2077"/>
            <ac:picMk id="51" creationId="{AC7742A1-F9F4-A371-F94C-745EE852CDA7}"/>
          </ac:picMkLst>
        </pc:picChg>
        <pc:picChg chg="mod">
          <ac:chgData name="Kümmerle, Markus" userId="edb588ad-b118-44cb-93b6-335b967c9009" providerId="ADAL" clId="{B82CC40D-97D3-4F7D-9D76-D5107F3005F0}" dt="2023-06-14T12:58:30.888" v="377"/>
          <ac:picMkLst>
            <pc:docMk/>
            <pc:sldMk cId="1195843399" sldId="2077"/>
            <ac:picMk id="52" creationId="{325E7125-4A1C-8339-FE9D-45ED8B36B9D8}"/>
          </ac:picMkLst>
        </pc:picChg>
        <pc:picChg chg="mod">
          <ac:chgData name="Kümmerle, Markus" userId="edb588ad-b118-44cb-93b6-335b967c9009" providerId="ADAL" clId="{B82CC40D-97D3-4F7D-9D76-D5107F3005F0}" dt="2023-06-14T12:58:30.888" v="377"/>
          <ac:picMkLst>
            <pc:docMk/>
            <pc:sldMk cId="1195843399" sldId="2077"/>
            <ac:picMk id="53" creationId="{071543D2-E780-D818-29AC-C5D67E007FC2}"/>
          </ac:picMkLst>
        </pc:picChg>
        <pc:picChg chg="mod">
          <ac:chgData name="Kümmerle, Markus" userId="edb588ad-b118-44cb-93b6-335b967c9009" providerId="ADAL" clId="{B82CC40D-97D3-4F7D-9D76-D5107F3005F0}" dt="2023-06-14T12:58:30.888" v="377"/>
          <ac:picMkLst>
            <pc:docMk/>
            <pc:sldMk cId="1195843399" sldId="2077"/>
            <ac:picMk id="54" creationId="{E9A1F683-E98B-A240-7C3B-B93EAA7D5035}"/>
          </ac:picMkLst>
        </pc:picChg>
        <pc:picChg chg="mod">
          <ac:chgData name="Kümmerle, Markus" userId="edb588ad-b118-44cb-93b6-335b967c9009" providerId="ADAL" clId="{B82CC40D-97D3-4F7D-9D76-D5107F3005F0}" dt="2023-06-14T12:58:30.888" v="377"/>
          <ac:picMkLst>
            <pc:docMk/>
            <pc:sldMk cId="1195843399" sldId="2077"/>
            <ac:picMk id="55" creationId="{E17038CC-1777-6B31-C7D5-AD8E0EAB81C5}"/>
          </ac:picMkLst>
        </pc:picChg>
        <pc:picChg chg="mod">
          <ac:chgData name="Kümmerle, Markus" userId="edb588ad-b118-44cb-93b6-335b967c9009" providerId="ADAL" clId="{B82CC40D-97D3-4F7D-9D76-D5107F3005F0}" dt="2023-06-14T12:58:30.888" v="377"/>
          <ac:picMkLst>
            <pc:docMk/>
            <pc:sldMk cId="1195843399" sldId="2077"/>
            <ac:picMk id="57" creationId="{A3CE3B6C-0E33-7EE4-E61C-F7A5EF300815}"/>
          </ac:picMkLst>
        </pc:picChg>
        <pc:picChg chg="mod">
          <ac:chgData name="Kümmerle, Markus" userId="edb588ad-b118-44cb-93b6-335b967c9009" providerId="ADAL" clId="{B82CC40D-97D3-4F7D-9D76-D5107F3005F0}" dt="2023-06-14T12:58:30.888" v="377"/>
          <ac:picMkLst>
            <pc:docMk/>
            <pc:sldMk cId="1195843399" sldId="2077"/>
            <ac:picMk id="58" creationId="{B02DEE52-5995-5D82-A4A0-5F1B323002C8}"/>
          </ac:picMkLst>
        </pc:picChg>
        <pc:picChg chg="mod">
          <ac:chgData name="Kümmerle, Markus" userId="edb588ad-b118-44cb-93b6-335b967c9009" providerId="ADAL" clId="{B82CC40D-97D3-4F7D-9D76-D5107F3005F0}" dt="2023-06-14T12:58:30.888" v="377"/>
          <ac:picMkLst>
            <pc:docMk/>
            <pc:sldMk cId="1195843399" sldId="2077"/>
            <ac:picMk id="59" creationId="{5890FFE1-28E2-22A5-B8A3-0662C0328E94}"/>
          </ac:picMkLst>
        </pc:picChg>
        <pc:picChg chg="add del mod">
          <ac:chgData name="Kümmerle, Markus" userId="edb588ad-b118-44cb-93b6-335b967c9009" providerId="ADAL" clId="{B82CC40D-97D3-4F7D-9D76-D5107F3005F0}" dt="2023-06-14T14:53:46.461" v="393" actId="478"/>
          <ac:picMkLst>
            <pc:docMk/>
            <pc:sldMk cId="1195843399" sldId="2077"/>
            <ac:picMk id="67" creationId="{3A827799-1CF2-3BF1-7401-830BC7AABE34}"/>
          </ac:picMkLst>
        </pc:picChg>
        <pc:picChg chg="add del mod">
          <ac:chgData name="Kümmerle, Markus" userId="edb588ad-b118-44cb-93b6-335b967c9009" providerId="ADAL" clId="{B82CC40D-97D3-4F7D-9D76-D5107F3005F0}" dt="2023-06-14T14:53:46.461" v="393" actId="478"/>
          <ac:picMkLst>
            <pc:docMk/>
            <pc:sldMk cId="1195843399" sldId="2077"/>
            <ac:picMk id="69" creationId="{375E81E4-90F8-DE6E-D46C-2CD18EEE2F72}"/>
          </ac:picMkLst>
        </pc:picChg>
        <pc:picChg chg="add del mod">
          <ac:chgData name="Kümmerle, Markus" userId="edb588ad-b118-44cb-93b6-335b967c9009" providerId="ADAL" clId="{B82CC40D-97D3-4F7D-9D76-D5107F3005F0}" dt="2023-06-14T14:55:20.251" v="398" actId="478"/>
          <ac:picMkLst>
            <pc:docMk/>
            <pc:sldMk cId="1195843399" sldId="2077"/>
            <ac:picMk id="79" creationId="{8EA13216-6D53-BE63-0DA6-FA4C7CFBC300}"/>
          </ac:picMkLst>
        </pc:picChg>
        <pc:picChg chg="add del mod">
          <ac:chgData name="Kümmerle, Markus" userId="edb588ad-b118-44cb-93b6-335b967c9009" providerId="ADAL" clId="{B82CC40D-97D3-4F7D-9D76-D5107F3005F0}" dt="2023-06-14T14:55:28.803" v="403" actId="478"/>
          <ac:picMkLst>
            <pc:docMk/>
            <pc:sldMk cId="1195843399" sldId="2077"/>
            <ac:picMk id="81" creationId="{57C23021-1F8F-01FC-CF53-1320CF740960}"/>
          </ac:picMkLst>
        </pc:picChg>
        <pc:picChg chg="add del mod">
          <ac:chgData name="Kümmerle, Markus" userId="edb588ad-b118-44cb-93b6-335b967c9009" providerId="ADAL" clId="{B82CC40D-97D3-4F7D-9D76-D5107F3005F0}" dt="2023-07-18T12:49:56.194" v="1908" actId="478"/>
          <ac:picMkLst>
            <pc:docMk/>
            <pc:sldMk cId="1195843399" sldId="2077"/>
            <ac:picMk id="83" creationId="{2DB66F11-2605-BF0F-0CE1-B427939A8BF1}"/>
          </ac:picMkLst>
        </pc:picChg>
        <pc:cxnChg chg="add del mod">
          <ac:chgData name="Kümmerle, Markus" userId="edb588ad-b118-44cb-93b6-335b967c9009" providerId="ADAL" clId="{B82CC40D-97D3-4F7D-9D76-D5107F3005F0}" dt="2023-06-14T14:53:46.461" v="393" actId="478"/>
          <ac:cxnSpMkLst>
            <pc:docMk/>
            <pc:sldMk cId="1195843399" sldId="2077"/>
            <ac:cxnSpMk id="6" creationId="{86A92779-E28B-1280-577C-F0C90A2E6016}"/>
          </ac:cxnSpMkLst>
        </pc:cxnChg>
        <pc:cxnChg chg="add del mod">
          <ac:chgData name="Kümmerle, Markus" userId="edb588ad-b118-44cb-93b6-335b967c9009" providerId="ADAL" clId="{B82CC40D-97D3-4F7D-9D76-D5107F3005F0}" dt="2023-06-14T14:53:46.461" v="393" actId="478"/>
          <ac:cxnSpMkLst>
            <pc:docMk/>
            <pc:sldMk cId="1195843399" sldId="2077"/>
            <ac:cxnSpMk id="9" creationId="{C8986083-79FF-99A3-BA63-B84D0B872BFD}"/>
          </ac:cxnSpMkLst>
        </pc:cxnChg>
        <pc:cxnChg chg="add del mod">
          <ac:chgData name="Kümmerle, Markus" userId="edb588ad-b118-44cb-93b6-335b967c9009" providerId="ADAL" clId="{B82CC40D-97D3-4F7D-9D76-D5107F3005F0}" dt="2023-06-14T14:53:46.461" v="393" actId="478"/>
          <ac:cxnSpMkLst>
            <pc:docMk/>
            <pc:sldMk cId="1195843399" sldId="2077"/>
            <ac:cxnSpMk id="16" creationId="{32516AA5-B5EA-826B-7A8E-D768FCB0FBD3}"/>
          </ac:cxnSpMkLst>
        </pc:cxnChg>
        <pc:cxnChg chg="add del mod">
          <ac:chgData name="Kümmerle, Markus" userId="edb588ad-b118-44cb-93b6-335b967c9009" providerId="ADAL" clId="{B82CC40D-97D3-4F7D-9D76-D5107F3005F0}" dt="2023-06-14T14:53:46.461" v="393" actId="478"/>
          <ac:cxnSpMkLst>
            <pc:docMk/>
            <pc:sldMk cId="1195843399" sldId="2077"/>
            <ac:cxnSpMk id="17" creationId="{5CC6AF54-EE4C-32C3-10F7-02F419F337AA}"/>
          </ac:cxnSpMkLst>
        </pc:cxnChg>
        <pc:cxnChg chg="mod">
          <ac:chgData name="Kümmerle, Markus" userId="edb588ad-b118-44cb-93b6-335b967c9009" providerId="ADAL" clId="{B82CC40D-97D3-4F7D-9D76-D5107F3005F0}" dt="2023-06-14T12:58:30.888" v="377"/>
          <ac:cxnSpMkLst>
            <pc:docMk/>
            <pc:sldMk cId="1195843399" sldId="2077"/>
            <ac:cxnSpMk id="63" creationId="{EB929BF7-BEED-A38A-80BC-9C52C2B85F3B}"/>
          </ac:cxnSpMkLst>
        </pc:cxnChg>
        <pc:cxnChg chg="mod">
          <ac:chgData name="Kümmerle, Markus" userId="edb588ad-b118-44cb-93b6-335b967c9009" providerId="ADAL" clId="{B82CC40D-97D3-4F7D-9D76-D5107F3005F0}" dt="2023-06-14T12:58:30.888" v="377"/>
          <ac:cxnSpMkLst>
            <pc:docMk/>
            <pc:sldMk cId="1195843399" sldId="2077"/>
            <ac:cxnSpMk id="64" creationId="{FB6BC8C9-4892-7C37-8503-4BD2DD5DE4DF}"/>
          </ac:cxnSpMkLst>
        </pc:cxnChg>
        <pc:cxnChg chg="mod">
          <ac:chgData name="Kümmerle, Markus" userId="edb588ad-b118-44cb-93b6-335b967c9009" providerId="ADAL" clId="{B82CC40D-97D3-4F7D-9D76-D5107F3005F0}" dt="2023-06-14T12:58:30.888" v="377"/>
          <ac:cxnSpMkLst>
            <pc:docMk/>
            <pc:sldMk cId="1195843399" sldId="2077"/>
            <ac:cxnSpMk id="65" creationId="{CDE76FAC-3393-9717-CF81-DFA87B0B0909}"/>
          </ac:cxnSpMkLst>
        </pc:cxnChg>
        <pc:cxnChg chg="add del mod">
          <ac:chgData name="Kümmerle, Markus" userId="edb588ad-b118-44cb-93b6-335b967c9009" providerId="ADAL" clId="{B82CC40D-97D3-4F7D-9D76-D5107F3005F0}" dt="2023-06-14T14:53:46.461" v="393" actId="478"/>
          <ac:cxnSpMkLst>
            <pc:docMk/>
            <pc:sldMk cId="1195843399" sldId="2077"/>
            <ac:cxnSpMk id="74" creationId="{4DAF9746-59BC-70AA-1AE6-11B3E89941FD}"/>
          </ac:cxnSpMkLst>
        </pc:cxnChg>
        <pc:cxnChg chg="add del mod">
          <ac:chgData name="Kümmerle, Markus" userId="edb588ad-b118-44cb-93b6-335b967c9009" providerId="ADAL" clId="{B82CC40D-97D3-4F7D-9D76-D5107F3005F0}" dt="2023-06-14T14:53:46.461" v="393" actId="478"/>
          <ac:cxnSpMkLst>
            <pc:docMk/>
            <pc:sldMk cId="1195843399" sldId="2077"/>
            <ac:cxnSpMk id="77" creationId="{658FF036-5AB7-C26B-E0D3-5A30F286275E}"/>
          </ac:cxnSpMkLst>
        </pc:cxnChg>
      </pc:sldChg>
    </pc:docChg>
  </pc:docChgLst>
  <pc:docChgLst>
    <pc:chgData name="Anna Piwowarczyk" userId="S::anna.piwowarczyk_hubraum.com#ext#@telekom.onmicrosoft.de::c5da8017-f246-45ab-b469-dec23ae8032d" providerId="AD" clId="Web-{0079327A-F780-5810-6F15-59E8D7532CFE}"/>
    <pc:docChg chg="modSld">
      <pc:chgData name="Anna Piwowarczyk" userId="S::anna.piwowarczyk_hubraum.com#ext#@telekom.onmicrosoft.de::c5da8017-f246-45ab-b469-dec23ae8032d" providerId="AD" clId="Web-{0079327A-F780-5810-6F15-59E8D7532CFE}" dt="2023-04-14T13:04:39.787" v="0" actId="20577"/>
      <pc:docMkLst>
        <pc:docMk/>
      </pc:docMkLst>
      <pc:sldChg chg="modSp">
        <pc:chgData name="Anna Piwowarczyk" userId="S::anna.piwowarczyk_hubraum.com#ext#@telekom.onmicrosoft.de::c5da8017-f246-45ab-b469-dec23ae8032d" providerId="AD" clId="Web-{0079327A-F780-5810-6F15-59E8D7532CFE}" dt="2023-04-14T13:04:39.787" v="0" actId="20577"/>
        <pc:sldMkLst>
          <pc:docMk/>
          <pc:sldMk cId="1652484770" sldId="2044"/>
        </pc:sldMkLst>
        <pc:spChg chg="mod">
          <ac:chgData name="Anna Piwowarczyk" userId="S::anna.piwowarczyk_hubraum.com#ext#@telekom.onmicrosoft.de::c5da8017-f246-45ab-b469-dec23ae8032d" providerId="AD" clId="Web-{0079327A-F780-5810-6F15-59E8D7532CFE}" dt="2023-04-14T13:04:39.787" v="0" actId="20577"/>
          <ac:spMkLst>
            <pc:docMk/>
            <pc:sldMk cId="1652484770" sldId="2044"/>
            <ac:spMk id="7" creationId="{C1CBEC6C-A35E-B413-C2F0-A045C556DBD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6.08.2023</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Typold Book" panose="020B0004030204060B03" pitchFamily="34" charset="0"/>
              </a:rPr>
              <a:pPr algn="r"/>
              <a:t>‹Nr.›</a:t>
            </a:fld>
            <a:endParaRPr lang="en-US" sz="900"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3.bin"/><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7.emf"/><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36.png"/><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37.png"/><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8.png"/><Relationship Id="rId5" Type="http://schemas.openxmlformats.org/officeDocument/2006/relationships/hyperlink" Target="https://github.com/camaraproject/Governance/blob/main/documentation/The-Ecosystem-for-Open-Gateway-NaaS-API-development.pdf" TargetMode="Externa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0.sv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39.png"/><Relationship Id="rId5" Type="http://schemas.openxmlformats.org/officeDocument/2006/relationships/hyperlink" Target="https://github.com/camaraproject" TargetMode="External"/><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1.png"/><Relationship Id="rId3" Type="http://schemas.openxmlformats.org/officeDocument/2006/relationships/oleObject" Target="../embeddings/oleObject18.bin"/><Relationship Id="rId21" Type="http://schemas.openxmlformats.org/officeDocument/2006/relationships/image" Target="../media/image26.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0.png"/><Relationship Id="rId2" Type="http://schemas.openxmlformats.org/officeDocument/2006/relationships/slideLayout" Target="../slideLayouts/slideLayout3.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20.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59.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8.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7.emf"/><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62.png"/><Relationship Id="rId4" Type="http://schemas.openxmlformats.org/officeDocument/2006/relationships/image" Target="../media/image7.emf"/></Relationships>
</file>

<file path=ppt/slides/_rels/slide17.xml.rels><?xml version="1.0" encoding="UTF-8" standalone="yes"?>
<Relationships xmlns="http://schemas.openxmlformats.org/package/2006/relationships"><Relationship Id="rId13" Type="http://schemas.openxmlformats.org/officeDocument/2006/relationships/image" Target="../media/image69.png"/><Relationship Id="rId18" Type="http://schemas.openxmlformats.org/officeDocument/2006/relationships/image" Target="../media/image48.png"/><Relationship Id="rId26" Type="http://schemas.openxmlformats.org/officeDocument/2006/relationships/image" Target="../media/image78.png"/><Relationship Id="rId39" Type="http://schemas.openxmlformats.org/officeDocument/2006/relationships/image" Target="../media/image88.png"/><Relationship Id="rId21" Type="http://schemas.openxmlformats.org/officeDocument/2006/relationships/image" Target="../media/image73.png"/><Relationship Id="rId34" Type="http://schemas.openxmlformats.org/officeDocument/2006/relationships/image" Target="../media/image83.png"/><Relationship Id="rId42" Type="http://schemas.openxmlformats.org/officeDocument/2006/relationships/image" Target="../media/image46.png"/><Relationship Id="rId47" Type="http://schemas.openxmlformats.org/officeDocument/2006/relationships/image" Target="../media/image95.png"/><Relationship Id="rId50" Type="http://schemas.openxmlformats.org/officeDocument/2006/relationships/image" Target="../media/image98.png"/><Relationship Id="rId55" Type="http://schemas.openxmlformats.org/officeDocument/2006/relationships/image" Target="../media/image101.png"/><Relationship Id="rId63" Type="http://schemas.openxmlformats.org/officeDocument/2006/relationships/image" Target="../media/image108.png"/><Relationship Id="rId68" Type="http://schemas.openxmlformats.org/officeDocument/2006/relationships/image" Target="../media/image113.png"/><Relationship Id="rId76" Type="http://schemas.openxmlformats.org/officeDocument/2006/relationships/image" Target="../media/image49.png"/><Relationship Id="rId84" Type="http://schemas.openxmlformats.org/officeDocument/2006/relationships/image" Target="../media/image123.png"/><Relationship Id="rId7" Type="http://schemas.openxmlformats.org/officeDocument/2006/relationships/image" Target="../media/image59.png"/><Relationship Id="rId71" Type="http://schemas.openxmlformats.org/officeDocument/2006/relationships/image" Target="../media/image116.png"/><Relationship Id="rId2" Type="http://schemas.openxmlformats.org/officeDocument/2006/relationships/slideLayout" Target="../slideLayouts/slideLayout3.xml"/><Relationship Id="rId16" Type="http://schemas.openxmlformats.org/officeDocument/2006/relationships/image" Target="../media/image72.png"/><Relationship Id="rId29" Type="http://schemas.openxmlformats.org/officeDocument/2006/relationships/image" Target="../media/image79.png"/><Relationship Id="rId11" Type="http://schemas.openxmlformats.org/officeDocument/2006/relationships/image" Target="../media/image67.png"/><Relationship Id="rId24" Type="http://schemas.openxmlformats.org/officeDocument/2006/relationships/image" Target="../media/image76.png"/><Relationship Id="rId32" Type="http://schemas.openxmlformats.org/officeDocument/2006/relationships/image" Target="../media/image81.png"/><Relationship Id="rId37" Type="http://schemas.openxmlformats.org/officeDocument/2006/relationships/image" Target="../media/image86.png"/><Relationship Id="rId40" Type="http://schemas.openxmlformats.org/officeDocument/2006/relationships/image" Target="../media/image89.png"/><Relationship Id="rId45" Type="http://schemas.openxmlformats.org/officeDocument/2006/relationships/image" Target="../media/image93.png"/><Relationship Id="rId53" Type="http://schemas.openxmlformats.org/officeDocument/2006/relationships/image" Target="../media/image51.png"/><Relationship Id="rId58" Type="http://schemas.openxmlformats.org/officeDocument/2006/relationships/image" Target="../media/image104.png"/><Relationship Id="rId66" Type="http://schemas.openxmlformats.org/officeDocument/2006/relationships/image" Target="../media/image111.png"/><Relationship Id="rId74" Type="http://schemas.openxmlformats.org/officeDocument/2006/relationships/image" Target="../media/image41.png"/><Relationship Id="rId79" Type="http://schemas.openxmlformats.org/officeDocument/2006/relationships/image" Target="../media/image118.png"/><Relationship Id="rId5" Type="http://schemas.openxmlformats.org/officeDocument/2006/relationships/image" Target="../media/image63.png"/><Relationship Id="rId61" Type="http://schemas.openxmlformats.org/officeDocument/2006/relationships/image" Target="../media/image107.png"/><Relationship Id="rId82" Type="http://schemas.openxmlformats.org/officeDocument/2006/relationships/image" Target="../media/image121.png"/><Relationship Id="rId10" Type="http://schemas.openxmlformats.org/officeDocument/2006/relationships/image" Target="../media/image66.png"/><Relationship Id="rId19" Type="http://schemas.openxmlformats.org/officeDocument/2006/relationships/image" Target="../media/image53.png"/><Relationship Id="rId31" Type="http://schemas.openxmlformats.org/officeDocument/2006/relationships/image" Target="../media/image80.png"/><Relationship Id="rId44" Type="http://schemas.openxmlformats.org/officeDocument/2006/relationships/image" Target="../media/image92.png"/><Relationship Id="rId52" Type="http://schemas.openxmlformats.org/officeDocument/2006/relationships/image" Target="../media/image47.png"/><Relationship Id="rId60" Type="http://schemas.openxmlformats.org/officeDocument/2006/relationships/image" Target="../media/image106.png"/><Relationship Id="rId65" Type="http://schemas.openxmlformats.org/officeDocument/2006/relationships/image" Target="../media/image110.png"/><Relationship Id="rId73" Type="http://schemas.openxmlformats.org/officeDocument/2006/relationships/image" Target="../media/image55.png"/><Relationship Id="rId78" Type="http://schemas.openxmlformats.org/officeDocument/2006/relationships/image" Target="../media/image26.png"/><Relationship Id="rId81" Type="http://schemas.openxmlformats.org/officeDocument/2006/relationships/image" Target="../media/image120.png"/><Relationship Id="rId4" Type="http://schemas.openxmlformats.org/officeDocument/2006/relationships/image" Target="../media/image7.emf"/><Relationship Id="rId9" Type="http://schemas.openxmlformats.org/officeDocument/2006/relationships/image" Target="../media/image65.png"/><Relationship Id="rId14" Type="http://schemas.openxmlformats.org/officeDocument/2006/relationships/image" Target="../media/image70.png"/><Relationship Id="rId22" Type="http://schemas.openxmlformats.org/officeDocument/2006/relationships/image" Target="../media/image74.png"/><Relationship Id="rId27" Type="http://schemas.openxmlformats.org/officeDocument/2006/relationships/image" Target="../media/image61.png"/><Relationship Id="rId30" Type="http://schemas.openxmlformats.org/officeDocument/2006/relationships/image" Target="../media/image57.png"/><Relationship Id="rId35" Type="http://schemas.openxmlformats.org/officeDocument/2006/relationships/image" Target="../media/image84.png"/><Relationship Id="rId43" Type="http://schemas.openxmlformats.org/officeDocument/2006/relationships/image" Target="../media/image91.png"/><Relationship Id="rId48" Type="http://schemas.openxmlformats.org/officeDocument/2006/relationships/image" Target="../media/image96.jpg"/><Relationship Id="rId56" Type="http://schemas.openxmlformats.org/officeDocument/2006/relationships/image" Target="../media/image102.png"/><Relationship Id="rId64" Type="http://schemas.openxmlformats.org/officeDocument/2006/relationships/image" Target="../media/image109.png"/><Relationship Id="rId69" Type="http://schemas.openxmlformats.org/officeDocument/2006/relationships/image" Target="../media/image114.png"/><Relationship Id="rId77" Type="http://schemas.openxmlformats.org/officeDocument/2006/relationships/image" Target="../media/image52.png"/><Relationship Id="rId8" Type="http://schemas.openxmlformats.org/officeDocument/2006/relationships/image" Target="../media/image64.png"/><Relationship Id="rId51" Type="http://schemas.openxmlformats.org/officeDocument/2006/relationships/image" Target="../media/image99.png"/><Relationship Id="rId72" Type="http://schemas.openxmlformats.org/officeDocument/2006/relationships/image" Target="../media/image117.png"/><Relationship Id="rId80" Type="http://schemas.openxmlformats.org/officeDocument/2006/relationships/image" Target="../media/image119.png"/><Relationship Id="rId3" Type="http://schemas.openxmlformats.org/officeDocument/2006/relationships/oleObject" Target="../embeddings/oleObject20.bin"/><Relationship Id="rId12" Type="http://schemas.openxmlformats.org/officeDocument/2006/relationships/image" Target="../media/image68.png"/><Relationship Id="rId17" Type="http://schemas.openxmlformats.org/officeDocument/2006/relationships/image" Target="../media/image27.png"/><Relationship Id="rId25" Type="http://schemas.openxmlformats.org/officeDocument/2006/relationships/image" Target="../media/image77.png"/><Relationship Id="rId33" Type="http://schemas.openxmlformats.org/officeDocument/2006/relationships/image" Target="../media/image82.svg"/><Relationship Id="rId38" Type="http://schemas.openxmlformats.org/officeDocument/2006/relationships/image" Target="../media/image87.png"/><Relationship Id="rId46" Type="http://schemas.openxmlformats.org/officeDocument/2006/relationships/image" Target="../media/image94.png"/><Relationship Id="rId59" Type="http://schemas.openxmlformats.org/officeDocument/2006/relationships/image" Target="../media/image105.png"/><Relationship Id="rId67" Type="http://schemas.openxmlformats.org/officeDocument/2006/relationships/image" Target="../media/image112.png"/><Relationship Id="rId20" Type="http://schemas.openxmlformats.org/officeDocument/2006/relationships/image" Target="../media/image60.png"/><Relationship Id="rId41" Type="http://schemas.openxmlformats.org/officeDocument/2006/relationships/image" Target="../media/image90.png"/><Relationship Id="rId54" Type="http://schemas.openxmlformats.org/officeDocument/2006/relationships/image" Target="../media/image100.png"/><Relationship Id="rId62" Type="http://schemas.openxmlformats.org/officeDocument/2006/relationships/image" Target="../media/image56.png"/><Relationship Id="rId70" Type="http://schemas.openxmlformats.org/officeDocument/2006/relationships/image" Target="../media/image115.png"/><Relationship Id="rId75" Type="http://schemas.openxmlformats.org/officeDocument/2006/relationships/image" Target="../media/image44.png"/><Relationship Id="rId83" Type="http://schemas.openxmlformats.org/officeDocument/2006/relationships/image" Target="../media/image122.png"/><Relationship Id="rId1" Type="http://schemas.openxmlformats.org/officeDocument/2006/relationships/tags" Target="../tags/tag22.xml"/><Relationship Id="rId6" Type="http://schemas.openxmlformats.org/officeDocument/2006/relationships/image" Target="../media/image42.png"/><Relationship Id="rId15" Type="http://schemas.openxmlformats.org/officeDocument/2006/relationships/image" Target="../media/image71.png"/><Relationship Id="rId23" Type="http://schemas.openxmlformats.org/officeDocument/2006/relationships/image" Target="../media/image75.png"/><Relationship Id="rId28" Type="http://schemas.openxmlformats.org/officeDocument/2006/relationships/image" Target="../media/image50.png"/><Relationship Id="rId36" Type="http://schemas.openxmlformats.org/officeDocument/2006/relationships/image" Target="../media/image85.png"/><Relationship Id="rId49" Type="http://schemas.openxmlformats.org/officeDocument/2006/relationships/image" Target="../media/image97.png"/><Relationship Id="rId57" Type="http://schemas.openxmlformats.org/officeDocument/2006/relationships/image" Target="../media/image103.png"/></Relationships>
</file>

<file path=ppt/slides/_rels/slide18.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32.png"/><Relationship Id="rId18" Type="http://schemas.openxmlformats.org/officeDocument/2006/relationships/image" Target="../media/image137.png"/><Relationship Id="rId26" Type="http://schemas.openxmlformats.org/officeDocument/2006/relationships/image" Target="../media/image145.png"/><Relationship Id="rId3" Type="http://schemas.openxmlformats.org/officeDocument/2006/relationships/oleObject" Target="../embeddings/oleObject21.bin"/><Relationship Id="rId21" Type="http://schemas.openxmlformats.org/officeDocument/2006/relationships/image" Target="../media/image140.png"/><Relationship Id="rId7" Type="http://schemas.openxmlformats.org/officeDocument/2006/relationships/image" Target="../media/image126.png"/><Relationship Id="rId12" Type="http://schemas.openxmlformats.org/officeDocument/2006/relationships/image" Target="../media/image131.png"/><Relationship Id="rId17" Type="http://schemas.openxmlformats.org/officeDocument/2006/relationships/image" Target="../media/image136.png"/><Relationship Id="rId25" Type="http://schemas.openxmlformats.org/officeDocument/2006/relationships/image" Target="../media/image144.png"/><Relationship Id="rId2" Type="http://schemas.openxmlformats.org/officeDocument/2006/relationships/slideLayout" Target="../slideLayouts/slideLayout3.xml"/><Relationship Id="rId16" Type="http://schemas.openxmlformats.org/officeDocument/2006/relationships/image" Target="../media/image135.png"/><Relationship Id="rId20" Type="http://schemas.openxmlformats.org/officeDocument/2006/relationships/image" Target="../media/image139.png"/><Relationship Id="rId29" Type="http://schemas.openxmlformats.org/officeDocument/2006/relationships/hyperlink" Target="https://camaraproject.org/resources/" TargetMode="External"/><Relationship Id="rId1" Type="http://schemas.openxmlformats.org/officeDocument/2006/relationships/tags" Target="../tags/tag23.xml"/><Relationship Id="rId6" Type="http://schemas.openxmlformats.org/officeDocument/2006/relationships/image" Target="../media/image125.png"/><Relationship Id="rId11" Type="http://schemas.openxmlformats.org/officeDocument/2006/relationships/image" Target="../media/image130.png"/><Relationship Id="rId24" Type="http://schemas.openxmlformats.org/officeDocument/2006/relationships/image" Target="../media/image143.png"/><Relationship Id="rId5" Type="http://schemas.openxmlformats.org/officeDocument/2006/relationships/image" Target="../media/image124.png"/><Relationship Id="rId15" Type="http://schemas.openxmlformats.org/officeDocument/2006/relationships/image" Target="../media/image134.png"/><Relationship Id="rId23" Type="http://schemas.openxmlformats.org/officeDocument/2006/relationships/image" Target="../media/image142.png"/><Relationship Id="rId28" Type="http://schemas.openxmlformats.org/officeDocument/2006/relationships/image" Target="../media/image147.png"/><Relationship Id="rId10" Type="http://schemas.openxmlformats.org/officeDocument/2006/relationships/image" Target="../media/image129.png"/><Relationship Id="rId19" Type="http://schemas.openxmlformats.org/officeDocument/2006/relationships/image" Target="../media/image138.png"/><Relationship Id="rId4" Type="http://schemas.openxmlformats.org/officeDocument/2006/relationships/image" Target="../media/image7.emf"/><Relationship Id="rId9" Type="http://schemas.openxmlformats.org/officeDocument/2006/relationships/image" Target="../media/image128.png"/><Relationship Id="rId14" Type="http://schemas.openxmlformats.org/officeDocument/2006/relationships/image" Target="../media/image133.png"/><Relationship Id="rId22" Type="http://schemas.openxmlformats.org/officeDocument/2006/relationships/image" Target="../media/image141.png"/><Relationship Id="rId27" Type="http://schemas.openxmlformats.org/officeDocument/2006/relationships/image" Target="../media/image146.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148.png"/><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7.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149.png"/><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hyperlink" Target="https://camaraproject.org/contact/" TargetMode="External"/><Relationship Id="rId5" Type="http://schemas.openxmlformats.org/officeDocument/2006/relationships/hyperlink" Target="mailto:all+subscribe@lists.camaraproject.org" TargetMode="External"/><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7.emf"/><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oleObject" Target="../embeddings/oleObject8.bin"/><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7.emf"/><Relationship Id="rId9" Type="http://schemas.openxmlformats.org/officeDocument/2006/relationships/image" Target="../media/image19.png"/><Relationship Id="rId14" Type="http://schemas.openxmlformats.org/officeDocument/2006/relationships/image" Target="../media/image24.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5.png"/><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25.08.2023</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9037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Arial"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Arial"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Arial"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5"/>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5"/>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5"/>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6"/>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107081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Arial"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Arial"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Arial" panose="020B0604020202020204" pitchFamily="34" charset="0"/>
              <a:buChar char="•"/>
            </a:pPr>
            <a:r>
              <a:rPr lang="en-US" sz="1600" dirty="0"/>
              <a:t>Create test plans / cases / tools from an API consumer perspective</a:t>
            </a:r>
          </a:p>
          <a:p>
            <a:pPr marL="285750" indent="-285750">
              <a:buFont typeface="Arial"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Arial"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Arial"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Arial" panose="020B0604020202020204" pitchFamily="34" charset="0"/>
              <a:buChar char="•"/>
            </a:pPr>
            <a:r>
              <a:rPr lang="en-US" sz="1600" dirty="0"/>
              <a:t>Optionally Service API and Service Management API code and</a:t>
            </a:r>
          </a:p>
          <a:p>
            <a:pPr marL="285750" indent="-285750">
              <a:buFont typeface="Arial"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5"/>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193880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1"/>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2"/>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3"/>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4"/>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5"/>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6"/>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7"/>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8"/>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19"/>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0"/>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1"/>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2"/>
            <a:stretch>
              <a:fillRect/>
            </a:stretch>
          </p:blipFill>
          <p:spPr>
            <a:xfrm>
              <a:off x="5217006" y="2056470"/>
              <a:ext cx="2124224" cy="430509"/>
            </a:xfrm>
            <a:prstGeom prst="rect">
              <a:avLst/>
            </a:prstGeom>
          </p:spPr>
        </p:pic>
        <p:pic>
          <p:nvPicPr>
            <p:cNvPr id="25" name="Picture 10">
              <a:extLst>
                <a:ext uri="{FF2B5EF4-FFF2-40B4-BE49-F238E27FC236}">
                  <a16:creationId xmlns:a16="http://schemas.microsoft.com/office/drawing/2014/main" id="{54ADCA74-FD40-C044-C014-11D132317A4C}"/>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4"/>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5"/>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6"/>
            <a:stretch>
              <a:fillRect/>
            </a:stretch>
          </p:blipFill>
          <p:spPr>
            <a:xfrm>
              <a:off x="7915906" y="2117657"/>
              <a:ext cx="1916123" cy="339313"/>
            </a:xfrm>
            <a:prstGeom prst="rect">
              <a:avLst/>
            </a:prstGeom>
          </p:spPr>
        </p:pic>
      </p:grpSp>
    </p:spTree>
    <p:extLst>
      <p:ext uri="{BB962C8B-B14F-4D97-AF65-F5344CB8AC3E}">
        <p14:creationId xmlns:p14="http://schemas.microsoft.com/office/powerpoint/2010/main" val="2341001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302369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212334" y="1988514"/>
            <a:ext cx="2902509" cy="3649319"/>
          </a:xfrm>
        </p:spPr>
        <p:txBody>
          <a:bodyPr/>
          <a:lstStyle/>
          <a:p>
            <a:pPr marL="285750" indent="-285750">
              <a:buFont typeface="Arial" panose="020B0604020202020204" pitchFamily="34" charset="0"/>
              <a:buChar char="•"/>
            </a:pPr>
            <a:r>
              <a:rPr lang="en-US" sz="1600" dirty="0"/>
              <a:t>80 Named Partners</a:t>
            </a:r>
          </a:p>
          <a:p>
            <a:pPr marL="285750" indent="-285750">
              <a:buFont typeface="Arial" panose="020B0604020202020204" pitchFamily="34" charset="0"/>
              <a:buChar char="•"/>
            </a:pPr>
            <a:r>
              <a:rPr lang="en-US" sz="1600" dirty="0"/>
              <a:t>246 (+143) companies participating in CAMARA</a:t>
            </a:r>
          </a:p>
          <a:p>
            <a:pPr marL="285750" indent="-285750">
              <a:buFont typeface="Arial" panose="020B0604020202020204" pitchFamily="34" charset="0"/>
              <a:buChar char="•"/>
            </a:pPr>
            <a:r>
              <a:rPr lang="en-US" sz="1600" dirty="0"/>
              <a:t>14 Active API development repos </a:t>
            </a:r>
          </a:p>
          <a:p>
            <a:pPr marL="285750" indent="-285750">
              <a:buFont typeface="Arial" panose="020B0604020202020204" pitchFamily="34" charset="0"/>
              <a:buChar char="•"/>
            </a:pPr>
            <a:r>
              <a:rPr lang="en-US" sz="1600" dirty="0"/>
              <a:t>130+ regular participants in Open Steering Calls</a:t>
            </a:r>
          </a:p>
          <a:p>
            <a:pPr marL="285750" indent="-285750">
              <a:buFont typeface="Arial" panose="020B0604020202020204" pitchFamily="34" charset="0"/>
              <a:buChar char="•"/>
            </a:pPr>
            <a:r>
              <a:rPr lang="en-US" sz="1600" dirty="0"/>
              <a:t>739 (+793) people joined CAMARA</a:t>
            </a:r>
          </a:p>
          <a:p>
            <a:pPr marL="285750" indent="-285750">
              <a:buFont typeface="Arial" panose="020B0604020202020204" pitchFamily="34" charset="0"/>
              <a:buChar char="•"/>
            </a:pPr>
            <a:r>
              <a:rPr lang="en-US" sz="1600" dirty="0"/>
              <a:t>Development ”home” for GSMA Open Gateway</a:t>
            </a:r>
          </a:p>
          <a:p>
            <a:pPr marL="285750" indent="-285750">
              <a:buFont typeface="Arial" panose="020B0604020202020204" pitchFamily="34" charset="0"/>
              <a:buChar char="•"/>
            </a:pPr>
            <a:endParaRPr lang="de-DE" sz="1600" dirty="0"/>
          </a:p>
        </p:txBody>
      </p:sp>
      <p:pic>
        <p:nvPicPr>
          <p:cNvPr id="5" name="Grafik 4">
            <a:extLst>
              <a:ext uri="{FF2B5EF4-FFF2-40B4-BE49-F238E27FC236}">
                <a16:creationId xmlns:a16="http://schemas.microsoft.com/office/drawing/2014/main" id="{68838D5B-245A-3EB3-8BBE-CBA09858A616}"/>
              </a:ext>
            </a:extLst>
          </p:cNvPr>
          <p:cNvPicPr>
            <a:picLocks noChangeAspect="1"/>
          </p:cNvPicPr>
          <p:nvPr/>
        </p:nvPicPr>
        <p:blipFill>
          <a:blip r:embed="rId5"/>
          <a:stretch>
            <a:fillRect/>
          </a:stretch>
        </p:blipFill>
        <p:spPr>
          <a:xfrm>
            <a:off x="444374" y="2259501"/>
            <a:ext cx="7600096" cy="2993977"/>
          </a:xfrm>
          <a:prstGeom prst="rect">
            <a:avLst/>
          </a:prstGeom>
        </p:spPr>
      </p:pic>
    </p:spTree>
    <p:extLst>
      <p:ext uri="{BB962C8B-B14F-4D97-AF65-F5344CB8AC3E}">
        <p14:creationId xmlns:p14="http://schemas.microsoft.com/office/powerpoint/2010/main" val="1782414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997129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grpSp>
        <p:nvGrpSpPr>
          <p:cNvPr id="64" name="Gruppieren 63">
            <a:extLst>
              <a:ext uri="{FF2B5EF4-FFF2-40B4-BE49-F238E27FC236}">
                <a16:creationId xmlns:a16="http://schemas.microsoft.com/office/drawing/2014/main" id="{F1DAA993-F7F1-DDAA-4BA4-64B5ABF9EFB6}"/>
              </a:ext>
            </a:extLst>
          </p:cNvPr>
          <p:cNvGrpSpPr/>
          <p:nvPr/>
        </p:nvGrpSpPr>
        <p:grpSpPr>
          <a:xfrm>
            <a:off x="291630" y="4679010"/>
            <a:ext cx="11173883" cy="996816"/>
            <a:chOff x="291630" y="4679010"/>
            <a:chExt cx="11173883" cy="996816"/>
          </a:xfrm>
        </p:grpSpPr>
        <p:pic>
          <p:nvPicPr>
            <p:cNvPr id="48" name="Grafik 47">
              <a:extLst>
                <a:ext uri="{FF2B5EF4-FFF2-40B4-BE49-F238E27FC236}">
                  <a16:creationId xmlns:a16="http://schemas.microsoft.com/office/drawing/2014/main" id="{C5FA247D-53CB-C57F-CE08-941D24133827}"/>
                </a:ext>
              </a:extLst>
            </p:cNvPr>
            <p:cNvPicPr>
              <a:picLocks noChangeAspect="1"/>
            </p:cNvPicPr>
            <p:nvPr/>
          </p:nvPicPr>
          <p:blipFill>
            <a:blip r:embed="rId5"/>
            <a:stretch>
              <a:fillRect/>
            </a:stretch>
          </p:blipFill>
          <p:spPr>
            <a:xfrm>
              <a:off x="291630" y="5051982"/>
              <a:ext cx="1077642" cy="250872"/>
            </a:xfrm>
            <a:prstGeom prst="rect">
              <a:avLst/>
            </a:prstGeom>
          </p:spPr>
        </p:pic>
        <p:pic>
          <p:nvPicPr>
            <p:cNvPr id="55" name="Picture 17">
              <a:extLst>
                <a:ext uri="{FF2B5EF4-FFF2-40B4-BE49-F238E27FC236}">
                  <a16:creationId xmlns:a16="http://schemas.microsoft.com/office/drawing/2014/main" id="{9EE68BDF-A454-ECAB-A617-56AA01089DF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98940" y="4851258"/>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56" name="Grafik 55">
              <a:extLst>
                <a:ext uri="{FF2B5EF4-FFF2-40B4-BE49-F238E27FC236}">
                  <a16:creationId xmlns:a16="http://schemas.microsoft.com/office/drawing/2014/main" id="{B7E94BA2-3118-CC4B-44A8-31DEF8D6CC15}"/>
                </a:ext>
              </a:extLst>
            </p:cNvPr>
            <p:cNvPicPr>
              <a:picLocks noChangeAspect="1"/>
            </p:cNvPicPr>
            <p:nvPr/>
          </p:nvPicPr>
          <p:blipFill>
            <a:blip r:embed="rId7"/>
            <a:stretch>
              <a:fillRect/>
            </a:stretch>
          </p:blipFill>
          <p:spPr>
            <a:xfrm>
              <a:off x="4397755" y="4803523"/>
              <a:ext cx="747791" cy="747791"/>
            </a:xfrm>
            <a:prstGeom prst="rect">
              <a:avLst/>
            </a:prstGeom>
          </p:spPr>
        </p:pic>
        <p:pic>
          <p:nvPicPr>
            <p:cNvPr id="57" name="Grafik 56" descr="Ein Bild, das Text enthält.&#10;&#10;Automatisch generierte Beschreibung">
              <a:extLst>
                <a:ext uri="{FF2B5EF4-FFF2-40B4-BE49-F238E27FC236}">
                  <a16:creationId xmlns:a16="http://schemas.microsoft.com/office/drawing/2014/main" id="{708AD5D7-F539-6D99-F9C0-5143AF9F88E2}"/>
                </a:ext>
              </a:extLst>
            </p:cNvPr>
            <p:cNvPicPr>
              <a:picLocks noChangeAspect="1"/>
            </p:cNvPicPr>
            <p:nvPr/>
          </p:nvPicPr>
          <p:blipFill>
            <a:blip r:embed="rId8"/>
            <a:stretch>
              <a:fillRect/>
            </a:stretch>
          </p:blipFill>
          <p:spPr>
            <a:xfrm>
              <a:off x="7437819" y="4898215"/>
              <a:ext cx="1289517" cy="558407"/>
            </a:xfrm>
            <a:prstGeom prst="rect">
              <a:avLst/>
            </a:prstGeom>
          </p:spPr>
        </p:pic>
        <p:pic>
          <p:nvPicPr>
            <p:cNvPr id="58" name="Grafik 57">
              <a:extLst>
                <a:ext uri="{FF2B5EF4-FFF2-40B4-BE49-F238E27FC236}">
                  <a16:creationId xmlns:a16="http://schemas.microsoft.com/office/drawing/2014/main" id="{F6C00566-8B11-4953-74CE-E5775AF8978D}"/>
                </a:ext>
              </a:extLst>
            </p:cNvPr>
            <p:cNvPicPr>
              <a:picLocks noChangeAspect="1"/>
            </p:cNvPicPr>
            <p:nvPr/>
          </p:nvPicPr>
          <p:blipFill>
            <a:blip r:embed="rId9"/>
            <a:stretch>
              <a:fillRect/>
            </a:stretch>
          </p:blipFill>
          <p:spPr>
            <a:xfrm>
              <a:off x="9037624" y="4779629"/>
              <a:ext cx="1264162" cy="795579"/>
            </a:xfrm>
            <a:prstGeom prst="rect">
              <a:avLst/>
            </a:prstGeom>
          </p:spPr>
        </p:pic>
        <p:pic>
          <p:nvPicPr>
            <p:cNvPr id="59" name="Grafik 58">
              <a:extLst>
                <a:ext uri="{FF2B5EF4-FFF2-40B4-BE49-F238E27FC236}">
                  <a16:creationId xmlns:a16="http://schemas.microsoft.com/office/drawing/2014/main" id="{FD317982-FA28-CD4F-B439-A5049C38F67B}"/>
                </a:ext>
              </a:extLst>
            </p:cNvPr>
            <p:cNvPicPr>
              <a:picLocks noChangeAspect="1"/>
            </p:cNvPicPr>
            <p:nvPr/>
          </p:nvPicPr>
          <p:blipFill>
            <a:blip r:embed="rId10"/>
            <a:stretch>
              <a:fillRect/>
            </a:stretch>
          </p:blipFill>
          <p:spPr>
            <a:xfrm>
              <a:off x="1300799" y="4953813"/>
              <a:ext cx="1429967" cy="447210"/>
            </a:xfrm>
            <a:prstGeom prst="rect">
              <a:avLst/>
            </a:prstGeom>
          </p:spPr>
        </p:pic>
        <p:pic>
          <p:nvPicPr>
            <p:cNvPr id="60" name="Grafik 59" descr="Ein Bild, das Text, Uhr enthält.&#10;&#10;Automatisch generierte Beschreibung">
              <a:extLst>
                <a:ext uri="{FF2B5EF4-FFF2-40B4-BE49-F238E27FC236}">
                  <a16:creationId xmlns:a16="http://schemas.microsoft.com/office/drawing/2014/main" id="{47E617E1-A789-0326-C59B-E730824BBCB9}"/>
                </a:ext>
              </a:extLst>
            </p:cNvPr>
            <p:cNvPicPr>
              <a:picLocks noChangeAspect="1"/>
            </p:cNvPicPr>
            <p:nvPr/>
          </p:nvPicPr>
          <p:blipFill>
            <a:blip r:embed="rId11"/>
            <a:stretch>
              <a:fillRect/>
            </a:stretch>
          </p:blipFill>
          <p:spPr>
            <a:xfrm>
              <a:off x="3351911" y="5001087"/>
              <a:ext cx="1906285" cy="352663"/>
            </a:xfrm>
            <a:prstGeom prst="rect">
              <a:avLst/>
            </a:prstGeom>
          </p:spPr>
        </p:pic>
        <p:pic>
          <p:nvPicPr>
            <p:cNvPr id="61" name="Grafik 60">
              <a:extLst>
                <a:ext uri="{FF2B5EF4-FFF2-40B4-BE49-F238E27FC236}">
                  <a16:creationId xmlns:a16="http://schemas.microsoft.com/office/drawing/2014/main" id="{810D22B4-C9E8-DCC8-A9E6-2B76B6B2A8CD}"/>
                </a:ext>
              </a:extLst>
            </p:cNvPr>
            <p:cNvPicPr>
              <a:picLocks noChangeAspect="1"/>
            </p:cNvPicPr>
            <p:nvPr/>
          </p:nvPicPr>
          <p:blipFill>
            <a:blip r:embed="rId12"/>
            <a:stretch>
              <a:fillRect/>
            </a:stretch>
          </p:blipFill>
          <p:spPr>
            <a:xfrm>
              <a:off x="6468246" y="4985961"/>
              <a:ext cx="993250" cy="382915"/>
            </a:xfrm>
            <a:prstGeom prst="rect">
              <a:avLst/>
            </a:prstGeom>
          </p:spPr>
        </p:pic>
        <p:pic>
          <p:nvPicPr>
            <p:cNvPr id="62" name="Grafik 61">
              <a:extLst>
                <a:ext uri="{FF2B5EF4-FFF2-40B4-BE49-F238E27FC236}">
                  <a16:creationId xmlns:a16="http://schemas.microsoft.com/office/drawing/2014/main" id="{A7DB6E73-7931-7CCE-D96F-50448A6C70B6}"/>
                </a:ext>
              </a:extLst>
            </p:cNvPr>
            <p:cNvPicPr>
              <a:picLocks noChangeAspect="1"/>
            </p:cNvPicPr>
            <p:nvPr/>
          </p:nvPicPr>
          <p:blipFill>
            <a:blip r:embed="rId13"/>
            <a:stretch>
              <a:fillRect/>
            </a:stretch>
          </p:blipFill>
          <p:spPr>
            <a:xfrm>
              <a:off x="10615568" y="4679010"/>
              <a:ext cx="849945" cy="996816"/>
            </a:xfrm>
            <a:prstGeom prst="rect">
              <a:avLst/>
            </a:prstGeom>
          </p:spPr>
        </p:pic>
        <p:pic>
          <p:nvPicPr>
            <p:cNvPr id="63" name="Grafik 62" descr="Ein Bild, das Logo enthält.&#10;&#10;Automatisch generierte Beschreibung">
              <a:extLst>
                <a:ext uri="{FF2B5EF4-FFF2-40B4-BE49-F238E27FC236}">
                  <a16:creationId xmlns:a16="http://schemas.microsoft.com/office/drawing/2014/main" id="{1DFFE26F-7869-E7D7-2522-51D1F9344734}"/>
                </a:ext>
              </a:extLst>
            </p:cNvPr>
            <p:cNvPicPr>
              <a:picLocks noChangeAspect="1"/>
            </p:cNvPicPr>
            <p:nvPr/>
          </p:nvPicPr>
          <p:blipFill>
            <a:blip r:embed="rId14"/>
            <a:stretch>
              <a:fillRect/>
            </a:stretch>
          </p:blipFill>
          <p:spPr>
            <a:xfrm>
              <a:off x="5190875" y="5041867"/>
              <a:ext cx="1163032" cy="271102"/>
            </a:xfrm>
            <a:prstGeom prst="rect">
              <a:avLst/>
            </a:prstGeom>
          </p:spPr>
        </p:pic>
        <p:pic>
          <p:nvPicPr>
            <p:cNvPr id="103" name="Grafik 102">
              <a:extLst>
                <a:ext uri="{FF2B5EF4-FFF2-40B4-BE49-F238E27FC236}">
                  <a16:creationId xmlns:a16="http://schemas.microsoft.com/office/drawing/2014/main" id="{74B057A2-3323-3FA8-1916-4F138E9310A2}"/>
                </a:ext>
              </a:extLst>
            </p:cNvPr>
            <p:cNvPicPr>
              <a:picLocks noChangeAspect="1"/>
            </p:cNvPicPr>
            <p:nvPr/>
          </p:nvPicPr>
          <p:blipFill>
            <a:blip r:embed="rId15"/>
            <a:stretch>
              <a:fillRect/>
            </a:stretch>
          </p:blipFill>
          <p:spPr>
            <a:xfrm>
              <a:off x="10079712" y="4802761"/>
              <a:ext cx="749315" cy="749315"/>
            </a:xfrm>
            <a:prstGeom prst="rect">
              <a:avLst/>
            </a:prstGeom>
          </p:spPr>
        </p:pic>
        <p:pic>
          <p:nvPicPr>
            <p:cNvPr id="54" name="Grafik 53">
              <a:extLst>
                <a:ext uri="{FF2B5EF4-FFF2-40B4-BE49-F238E27FC236}">
                  <a16:creationId xmlns:a16="http://schemas.microsoft.com/office/drawing/2014/main" id="{A91A3763-49FA-A504-CD38-C14B47D5FF1B}"/>
                </a:ext>
              </a:extLst>
            </p:cNvPr>
            <p:cNvPicPr>
              <a:picLocks noChangeAspect="1"/>
            </p:cNvPicPr>
            <p:nvPr/>
          </p:nvPicPr>
          <p:blipFill>
            <a:blip r:embed="rId16"/>
            <a:stretch>
              <a:fillRect/>
            </a:stretch>
          </p:blipFill>
          <p:spPr>
            <a:xfrm>
              <a:off x="8798554" y="4898215"/>
              <a:ext cx="392140" cy="558407"/>
            </a:xfrm>
            <a:prstGeom prst="rect">
              <a:avLst/>
            </a:prstGeom>
          </p:spPr>
        </p:pic>
      </p:grpSp>
      <p:grpSp>
        <p:nvGrpSpPr>
          <p:cNvPr id="44" name="Gruppieren 43">
            <a:extLst>
              <a:ext uri="{FF2B5EF4-FFF2-40B4-BE49-F238E27FC236}">
                <a16:creationId xmlns:a16="http://schemas.microsoft.com/office/drawing/2014/main" id="{769B114A-5218-D89A-9C73-1BEFD15EE8A0}"/>
              </a:ext>
            </a:extLst>
          </p:cNvPr>
          <p:cNvGrpSpPr/>
          <p:nvPr/>
        </p:nvGrpSpPr>
        <p:grpSpPr>
          <a:xfrm>
            <a:off x="318104" y="3562841"/>
            <a:ext cx="10947356" cy="888970"/>
            <a:chOff x="318104" y="3562841"/>
            <a:chExt cx="10947356" cy="888970"/>
          </a:xfrm>
        </p:grpSpPr>
        <p:pic>
          <p:nvPicPr>
            <p:cNvPr id="10" name="Grafik 9" descr="Ein Bild, das Text, ClipArt enthält.&#10;&#10;Automatisch generierte Beschreibung">
              <a:extLst>
                <a:ext uri="{FF2B5EF4-FFF2-40B4-BE49-F238E27FC236}">
                  <a16:creationId xmlns:a16="http://schemas.microsoft.com/office/drawing/2014/main" id="{4EB9685F-005E-E466-8D80-026C5D49747C}"/>
                </a:ext>
              </a:extLst>
            </p:cNvPr>
            <p:cNvPicPr>
              <a:picLocks noChangeAspect="1"/>
            </p:cNvPicPr>
            <p:nvPr/>
          </p:nvPicPr>
          <p:blipFill>
            <a:blip r:embed="rId17"/>
            <a:stretch>
              <a:fillRect/>
            </a:stretch>
          </p:blipFill>
          <p:spPr>
            <a:xfrm>
              <a:off x="1740082" y="3930845"/>
              <a:ext cx="978772" cy="152962"/>
            </a:xfrm>
            <a:prstGeom prst="rect">
              <a:avLst/>
            </a:prstGeom>
          </p:spPr>
        </p:pic>
        <p:pic>
          <p:nvPicPr>
            <p:cNvPr id="16" name="Grafik 15">
              <a:extLst>
                <a:ext uri="{FF2B5EF4-FFF2-40B4-BE49-F238E27FC236}">
                  <a16:creationId xmlns:a16="http://schemas.microsoft.com/office/drawing/2014/main" id="{91A88998-AD8B-BB63-8742-BE67DCB84E3C}"/>
                </a:ext>
              </a:extLst>
            </p:cNvPr>
            <p:cNvPicPr>
              <a:picLocks noChangeAspect="1"/>
            </p:cNvPicPr>
            <p:nvPr/>
          </p:nvPicPr>
          <p:blipFill>
            <a:blip r:embed="rId18"/>
            <a:stretch>
              <a:fillRect/>
            </a:stretch>
          </p:blipFill>
          <p:spPr>
            <a:xfrm>
              <a:off x="9496226" y="3760341"/>
              <a:ext cx="903606" cy="493971"/>
            </a:xfrm>
            <a:prstGeom prst="rect">
              <a:avLst/>
            </a:prstGeom>
          </p:spPr>
        </p:pic>
        <p:pic>
          <p:nvPicPr>
            <p:cNvPr id="17" name="Grafik 16" descr="Ein Bild, das Text, drinnen, dunkel enthält.&#10;&#10;Automatisch generierte Beschreibung">
              <a:extLst>
                <a:ext uri="{FF2B5EF4-FFF2-40B4-BE49-F238E27FC236}">
                  <a16:creationId xmlns:a16="http://schemas.microsoft.com/office/drawing/2014/main" id="{AB156C42-4187-E79E-5029-E40667EDDBC5}"/>
                </a:ext>
              </a:extLst>
            </p:cNvPr>
            <p:cNvPicPr>
              <a:picLocks noChangeAspect="1"/>
            </p:cNvPicPr>
            <p:nvPr/>
          </p:nvPicPr>
          <p:blipFill>
            <a:blip r:embed="rId19"/>
            <a:stretch>
              <a:fillRect/>
            </a:stretch>
          </p:blipFill>
          <p:spPr>
            <a:xfrm>
              <a:off x="4790522" y="3562841"/>
              <a:ext cx="1335480" cy="888970"/>
            </a:xfrm>
            <a:prstGeom prst="rect">
              <a:avLst/>
            </a:prstGeom>
          </p:spPr>
        </p:pic>
        <p:pic>
          <p:nvPicPr>
            <p:cNvPr id="19" name="Grafik 18">
              <a:extLst>
                <a:ext uri="{FF2B5EF4-FFF2-40B4-BE49-F238E27FC236}">
                  <a16:creationId xmlns:a16="http://schemas.microsoft.com/office/drawing/2014/main" id="{42481B8B-E01F-CF96-A381-DA509D7F3E2F}"/>
                </a:ext>
              </a:extLst>
            </p:cNvPr>
            <p:cNvPicPr>
              <a:picLocks noChangeAspect="1"/>
            </p:cNvPicPr>
            <p:nvPr/>
          </p:nvPicPr>
          <p:blipFill>
            <a:blip r:embed="rId20"/>
            <a:stretch>
              <a:fillRect/>
            </a:stretch>
          </p:blipFill>
          <p:spPr>
            <a:xfrm>
              <a:off x="8822433" y="3870114"/>
              <a:ext cx="676479" cy="274425"/>
            </a:xfrm>
            <a:prstGeom prst="rect">
              <a:avLst/>
            </a:prstGeom>
          </p:spPr>
        </p:pic>
        <p:pic>
          <p:nvPicPr>
            <p:cNvPr id="20" name="Grafik 19">
              <a:extLst>
                <a:ext uri="{FF2B5EF4-FFF2-40B4-BE49-F238E27FC236}">
                  <a16:creationId xmlns:a16="http://schemas.microsoft.com/office/drawing/2014/main" id="{0284CFA3-4614-DBA8-2BD6-F82A80C41DE5}"/>
                </a:ext>
              </a:extLst>
            </p:cNvPr>
            <p:cNvPicPr>
              <a:picLocks noChangeAspect="1"/>
            </p:cNvPicPr>
            <p:nvPr/>
          </p:nvPicPr>
          <p:blipFill>
            <a:blip r:embed="rId21"/>
            <a:stretch>
              <a:fillRect/>
            </a:stretch>
          </p:blipFill>
          <p:spPr>
            <a:xfrm>
              <a:off x="6519529" y="3734411"/>
              <a:ext cx="606343" cy="545830"/>
            </a:xfrm>
            <a:prstGeom prst="rect">
              <a:avLst/>
            </a:prstGeom>
          </p:spPr>
        </p:pic>
        <p:pic>
          <p:nvPicPr>
            <p:cNvPr id="21" name="Grafik 20">
              <a:extLst>
                <a:ext uri="{FF2B5EF4-FFF2-40B4-BE49-F238E27FC236}">
                  <a16:creationId xmlns:a16="http://schemas.microsoft.com/office/drawing/2014/main" id="{DB698374-CED7-0187-DCEC-C321C758C715}"/>
                </a:ext>
              </a:extLst>
            </p:cNvPr>
            <p:cNvPicPr>
              <a:picLocks noChangeAspect="1"/>
            </p:cNvPicPr>
            <p:nvPr/>
          </p:nvPicPr>
          <p:blipFill>
            <a:blip r:embed="rId22"/>
            <a:stretch>
              <a:fillRect/>
            </a:stretch>
          </p:blipFill>
          <p:spPr>
            <a:xfrm>
              <a:off x="10431712" y="3878726"/>
              <a:ext cx="833748" cy="257201"/>
            </a:xfrm>
            <a:prstGeom prst="rect">
              <a:avLst/>
            </a:prstGeom>
          </p:spPr>
        </p:pic>
        <p:grpSp>
          <p:nvGrpSpPr>
            <p:cNvPr id="22" name="组合 55">
              <a:extLst>
                <a:ext uri="{FF2B5EF4-FFF2-40B4-BE49-F238E27FC236}">
                  <a16:creationId xmlns:a16="http://schemas.microsoft.com/office/drawing/2014/main" id="{E2CC1AD4-413A-9A83-A0EB-A168E8C45315}"/>
                </a:ext>
              </a:extLst>
            </p:cNvPr>
            <p:cNvGrpSpPr>
              <a:grpSpLocks noChangeAspect="1"/>
            </p:cNvGrpSpPr>
            <p:nvPr/>
          </p:nvGrpSpPr>
          <p:grpSpPr>
            <a:xfrm>
              <a:off x="3729204" y="3869592"/>
              <a:ext cx="1224763" cy="275468"/>
              <a:chOff x="720033" y="1467682"/>
              <a:chExt cx="4056154" cy="912291"/>
            </a:xfrm>
          </p:grpSpPr>
          <p:grpSp>
            <p:nvGrpSpPr>
              <p:cNvPr id="25" name="组合 38">
                <a:extLst>
                  <a:ext uri="{FF2B5EF4-FFF2-40B4-BE49-F238E27FC236}">
                    <a16:creationId xmlns:a16="http://schemas.microsoft.com/office/drawing/2014/main" id="{409573BB-DC4B-5847-F240-53D93C63A878}"/>
                  </a:ext>
                </a:extLst>
              </p:cNvPr>
              <p:cNvGrpSpPr>
                <a:grpSpLocks noChangeAspect="1"/>
              </p:cNvGrpSpPr>
              <p:nvPr/>
            </p:nvGrpSpPr>
            <p:grpSpPr>
              <a:xfrm>
                <a:off x="2130398" y="1759008"/>
                <a:ext cx="2645789" cy="451808"/>
                <a:chOff x="4003676" y="2249488"/>
                <a:chExt cx="5810250" cy="992187"/>
              </a:xfrm>
            </p:grpSpPr>
            <p:sp>
              <p:nvSpPr>
                <p:cNvPr id="27" name="Freeform 25">
                  <a:extLst>
                    <a:ext uri="{FF2B5EF4-FFF2-40B4-BE49-F238E27FC236}">
                      <a16:creationId xmlns:a16="http://schemas.microsoft.com/office/drawing/2014/main" id="{A2E51628-33E5-30C2-9D29-C3E29D9B5BB9}"/>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6">
                  <a:extLst>
                    <a:ext uri="{FF2B5EF4-FFF2-40B4-BE49-F238E27FC236}">
                      <a16:creationId xmlns:a16="http://schemas.microsoft.com/office/drawing/2014/main" id="{150C3185-22E1-0DC9-74BB-E90DD3C3A20C}"/>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7">
                  <a:extLst>
                    <a:ext uri="{FF2B5EF4-FFF2-40B4-BE49-F238E27FC236}">
                      <a16:creationId xmlns:a16="http://schemas.microsoft.com/office/drawing/2014/main" id="{7065B4C3-85B1-1697-939B-3A38F96488B5}"/>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8">
                  <a:extLst>
                    <a:ext uri="{FF2B5EF4-FFF2-40B4-BE49-F238E27FC236}">
                      <a16:creationId xmlns:a16="http://schemas.microsoft.com/office/drawing/2014/main" id="{92DAE401-2A74-F29A-161B-0A800C531922}"/>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9">
                  <a:extLst>
                    <a:ext uri="{FF2B5EF4-FFF2-40B4-BE49-F238E27FC236}">
                      <a16:creationId xmlns:a16="http://schemas.microsoft.com/office/drawing/2014/main" id="{582E95C1-5721-89E6-DC8C-1366AF8F12F0}"/>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0">
                  <a:extLst>
                    <a:ext uri="{FF2B5EF4-FFF2-40B4-BE49-F238E27FC236}">
                      <a16:creationId xmlns:a16="http://schemas.microsoft.com/office/drawing/2014/main" id="{00BAFA0F-4342-8406-29AA-32BE588CADB6}"/>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6" name="Freeform 31">
                <a:extLst>
                  <a:ext uri="{FF2B5EF4-FFF2-40B4-BE49-F238E27FC236}">
                    <a16:creationId xmlns:a16="http://schemas.microsoft.com/office/drawing/2014/main" id="{A6DE6F58-E051-0EE5-265F-5CC6BEC29DD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24" name="Grafik 23">
              <a:extLst>
                <a:ext uri="{FF2B5EF4-FFF2-40B4-BE49-F238E27FC236}">
                  <a16:creationId xmlns:a16="http://schemas.microsoft.com/office/drawing/2014/main" id="{48886165-F175-A72C-6460-CF59E467F3D5}"/>
                </a:ext>
              </a:extLst>
            </p:cNvPr>
            <p:cNvPicPr>
              <a:picLocks noChangeAspect="1"/>
            </p:cNvPicPr>
            <p:nvPr/>
          </p:nvPicPr>
          <p:blipFill>
            <a:blip r:embed="rId23"/>
            <a:stretch>
              <a:fillRect/>
            </a:stretch>
          </p:blipFill>
          <p:spPr>
            <a:xfrm>
              <a:off x="7938822" y="3863767"/>
              <a:ext cx="771390" cy="287118"/>
            </a:xfrm>
            <a:prstGeom prst="rect">
              <a:avLst/>
            </a:prstGeom>
          </p:spPr>
        </p:pic>
        <p:pic>
          <p:nvPicPr>
            <p:cNvPr id="95" name="Grafik 94">
              <a:extLst>
                <a:ext uri="{FF2B5EF4-FFF2-40B4-BE49-F238E27FC236}">
                  <a16:creationId xmlns:a16="http://schemas.microsoft.com/office/drawing/2014/main" id="{37981201-52D4-BE4D-8855-263F000DDCEF}"/>
                </a:ext>
              </a:extLst>
            </p:cNvPr>
            <p:cNvPicPr>
              <a:picLocks noChangeAspect="1"/>
            </p:cNvPicPr>
            <p:nvPr/>
          </p:nvPicPr>
          <p:blipFill>
            <a:blip r:embed="rId24"/>
            <a:stretch>
              <a:fillRect/>
            </a:stretch>
          </p:blipFill>
          <p:spPr>
            <a:xfrm>
              <a:off x="2705219" y="3749383"/>
              <a:ext cx="1035283" cy="515887"/>
            </a:xfrm>
            <a:prstGeom prst="rect">
              <a:avLst/>
            </a:prstGeom>
          </p:spPr>
        </p:pic>
        <p:pic>
          <p:nvPicPr>
            <p:cNvPr id="97" name="Grafik 96" descr="Ein Bild, das Logo enthält.&#10;&#10;Automatisch generierte Beschreibung">
              <a:extLst>
                <a:ext uri="{FF2B5EF4-FFF2-40B4-BE49-F238E27FC236}">
                  <a16:creationId xmlns:a16="http://schemas.microsoft.com/office/drawing/2014/main" id="{877341B3-1D9D-CC25-B35C-66D868221447}"/>
                </a:ext>
              </a:extLst>
            </p:cNvPr>
            <p:cNvPicPr>
              <a:picLocks noChangeAspect="1"/>
            </p:cNvPicPr>
            <p:nvPr/>
          </p:nvPicPr>
          <p:blipFill>
            <a:blip r:embed="rId25"/>
            <a:stretch>
              <a:fillRect/>
            </a:stretch>
          </p:blipFill>
          <p:spPr>
            <a:xfrm>
              <a:off x="5956666" y="3746404"/>
              <a:ext cx="457733" cy="521845"/>
            </a:xfrm>
            <a:prstGeom prst="rect">
              <a:avLst/>
            </a:prstGeom>
          </p:spPr>
        </p:pic>
        <p:pic>
          <p:nvPicPr>
            <p:cNvPr id="99" name="Grafik 98" descr="Ein Bild, das Text, Schild, Clipart enthält.&#10;&#10;Automatisch generierte Beschreibung">
              <a:extLst>
                <a:ext uri="{FF2B5EF4-FFF2-40B4-BE49-F238E27FC236}">
                  <a16:creationId xmlns:a16="http://schemas.microsoft.com/office/drawing/2014/main" id="{EBD589E8-B6AD-DE1C-30D8-114A33110E13}"/>
                </a:ext>
              </a:extLst>
            </p:cNvPr>
            <p:cNvPicPr>
              <a:picLocks noChangeAspect="1"/>
            </p:cNvPicPr>
            <p:nvPr/>
          </p:nvPicPr>
          <p:blipFill>
            <a:blip r:embed="rId26"/>
            <a:stretch>
              <a:fillRect/>
            </a:stretch>
          </p:blipFill>
          <p:spPr>
            <a:xfrm>
              <a:off x="7280500" y="3803588"/>
              <a:ext cx="531582" cy="407477"/>
            </a:xfrm>
            <a:prstGeom prst="rect">
              <a:avLst/>
            </a:prstGeom>
          </p:spPr>
        </p:pic>
        <p:pic>
          <p:nvPicPr>
            <p:cNvPr id="8" name="Grafik 7">
              <a:extLst>
                <a:ext uri="{FF2B5EF4-FFF2-40B4-BE49-F238E27FC236}">
                  <a16:creationId xmlns:a16="http://schemas.microsoft.com/office/drawing/2014/main" id="{0BBB2E90-DE38-74A5-C15B-F0B5B52E3E2C}"/>
                </a:ext>
              </a:extLst>
            </p:cNvPr>
            <p:cNvPicPr>
              <a:picLocks noChangeAspect="1"/>
            </p:cNvPicPr>
            <p:nvPr/>
          </p:nvPicPr>
          <p:blipFill>
            <a:blip r:embed="rId27"/>
            <a:stretch>
              <a:fillRect/>
            </a:stretch>
          </p:blipFill>
          <p:spPr>
            <a:xfrm>
              <a:off x="318104" y="3896304"/>
              <a:ext cx="1253897" cy="222044"/>
            </a:xfrm>
            <a:prstGeom prst="rect">
              <a:avLst/>
            </a:prstGeom>
          </p:spPr>
        </p:pic>
      </p:grpSp>
      <p:grpSp>
        <p:nvGrpSpPr>
          <p:cNvPr id="87" name="Gruppieren 86">
            <a:extLst>
              <a:ext uri="{FF2B5EF4-FFF2-40B4-BE49-F238E27FC236}">
                <a16:creationId xmlns:a16="http://schemas.microsoft.com/office/drawing/2014/main" id="{C00560F3-2381-A42C-92B6-3244FADD05DE}"/>
              </a:ext>
            </a:extLst>
          </p:cNvPr>
          <p:cNvGrpSpPr/>
          <p:nvPr/>
        </p:nvGrpSpPr>
        <p:grpSpPr>
          <a:xfrm>
            <a:off x="259606" y="2876802"/>
            <a:ext cx="11170000" cy="1072157"/>
            <a:chOff x="259606" y="2876802"/>
            <a:chExt cx="11170000" cy="1072157"/>
          </a:xfrm>
        </p:grpSpPr>
        <p:pic>
          <p:nvPicPr>
            <p:cNvPr id="6" name="Grafik 5">
              <a:extLst>
                <a:ext uri="{FF2B5EF4-FFF2-40B4-BE49-F238E27FC236}">
                  <a16:creationId xmlns:a16="http://schemas.microsoft.com/office/drawing/2014/main" id="{74E01D4D-4763-448E-BA82-D3CD64B1ABD6}"/>
                </a:ext>
              </a:extLst>
            </p:cNvPr>
            <p:cNvPicPr>
              <a:picLocks noChangeAspect="1"/>
            </p:cNvPicPr>
            <p:nvPr/>
          </p:nvPicPr>
          <p:blipFill>
            <a:blip r:embed="rId28"/>
            <a:stretch>
              <a:fillRect/>
            </a:stretch>
          </p:blipFill>
          <p:spPr>
            <a:xfrm>
              <a:off x="1498206" y="3141250"/>
              <a:ext cx="501757" cy="543261"/>
            </a:xfrm>
            <a:prstGeom prst="rect">
              <a:avLst/>
            </a:prstGeom>
          </p:spPr>
        </p:pic>
        <p:pic>
          <p:nvPicPr>
            <p:cNvPr id="85" name="Grafik 84">
              <a:extLst>
                <a:ext uri="{FF2B5EF4-FFF2-40B4-BE49-F238E27FC236}">
                  <a16:creationId xmlns:a16="http://schemas.microsoft.com/office/drawing/2014/main" id="{854F9E03-3A5B-4191-EC4C-F262433B915A}"/>
                </a:ext>
              </a:extLst>
            </p:cNvPr>
            <p:cNvPicPr>
              <a:picLocks noChangeAspect="1"/>
            </p:cNvPicPr>
            <p:nvPr/>
          </p:nvPicPr>
          <p:blipFill>
            <a:blip r:embed="rId29"/>
            <a:stretch>
              <a:fillRect/>
            </a:stretch>
          </p:blipFill>
          <p:spPr>
            <a:xfrm>
              <a:off x="259606" y="3243479"/>
              <a:ext cx="1127007" cy="338802"/>
            </a:xfrm>
            <a:prstGeom prst="rect">
              <a:avLst/>
            </a:prstGeom>
          </p:spPr>
        </p:pic>
        <p:pic>
          <p:nvPicPr>
            <p:cNvPr id="7" name="Grafik 6">
              <a:extLst>
                <a:ext uri="{FF2B5EF4-FFF2-40B4-BE49-F238E27FC236}">
                  <a16:creationId xmlns:a16="http://schemas.microsoft.com/office/drawing/2014/main" id="{64E7720C-C4E6-8DC0-2EC6-8CC884A50372}"/>
                </a:ext>
              </a:extLst>
            </p:cNvPr>
            <p:cNvPicPr>
              <a:picLocks noChangeAspect="1"/>
            </p:cNvPicPr>
            <p:nvPr/>
          </p:nvPicPr>
          <p:blipFill>
            <a:blip r:embed="rId30"/>
            <a:stretch>
              <a:fillRect/>
            </a:stretch>
          </p:blipFill>
          <p:spPr>
            <a:xfrm>
              <a:off x="7193936" y="3279843"/>
              <a:ext cx="1312871" cy="266075"/>
            </a:xfrm>
            <a:prstGeom prst="rect">
              <a:avLst/>
            </a:prstGeom>
          </p:spPr>
        </p:pic>
        <p:pic>
          <p:nvPicPr>
            <p:cNvPr id="9" name="Grafik 8">
              <a:extLst>
                <a:ext uri="{FF2B5EF4-FFF2-40B4-BE49-F238E27FC236}">
                  <a16:creationId xmlns:a16="http://schemas.microsoft.com/office/drawing/2014/main" id="{08252AC1-A5E6-36D0-B1FB-F6A0E125C914}"/>
                </a:ext>
              </a:extLst>
            </p:cNvPr>
            <p:cNvPicPr>
              <a:picLocks noChangeAspect="1"/>
            </p:cNvPicPr>
            <p:nvPr/>
          </p:nvPicPr>
          <p:blipFill>
            <a:blip r:embed="rId31"/>
            <a:stretch>
              <a:fillRect/>
            </a:stretch>
          </p:blipFill>
          <p:spPr>
            <a:xfrm>
              <a:off x="6161792" y="3183741"/>
              <a:ext cx="1024065" cy="458279"/>
            </a:xfrm>
            <a:prstGeom prst="rect">
              <a:avLst/>
            </a:prstGeom>
          </p:spPr>
        </p:pic>
        <p:pic>
          <p:nvPicPr>
            <p:cNvPr id="11" name="Grafik 10">
              <a:extLst>
                <a:ext uri="{FF2B5EF4-FFF2-40B4-BE49-F238E27FC236}">
                  <a16:creationId xmlns:a16="http://schemas.microsoft.com/office/drawing/2014/main" id="{A065712E-B152-C33D-B300-91BFDB3660AF}"/>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3072101" y="3341174"/>
              <a:ext cx="1147302" cy="143413"/>
            </a:xfrm>
            <a:prstGeom prst="rect">
              <a:avLst/>
            </a:prstGeom>
          </p:spPr>
        </p:pic>
        <p:pic>
          <p:nvPicPr>
            <p:cNvPr id="12" name="Grafik 11">
              <a:extLst>
                <a:ext uri="{FF2B5EF4-FFF2-40B4-BE49-F238E27FC236}">
                  <a16:creationId xmlns:a16="http://schemas.microsoft.com/office/drawing/2014/main" id="{96AB3688-3140-3CCC-8D19-311155F26C17}"/>
                </a:ext>
              </a:extLst>
            </p:cNvPr>
            <p:cNvPicPr>
              <a:picLocks noChangeAspect="1"/>
            </p:cNvPicPr>
            <p:nvPr/>
          </p:nvPicPr>
          <p:blipFill>
            <a:blip r:embed="rId34"/>
            <a:stretch>
              <a:fillRect/>
            </a:stretch>
          </p:blipFill>
          <p:spPr>
            <a:xfrm>
              <a:off x="5163055" y="3293165"/>
              <a:ext cx="990658" cy="239430"/>
            </a:xfrm>
            <a:prstGeom prst="rect">
              <a:avLst/>
            </a:prstGeom>
          </p:spPr>
        </p:pic>
        <p:pic>
          <p:nvPicPr>
            <p:cNvPr id="13" name="Grafik 12">
              <a:extLst>
                <a:ext uri="{FF2B5EF4-FFF2-40B4-BE49-F238E27FC236}">
                  <a16:creationId xmlns:a16="http://schemas.microsoft.com/office/drawing/2014/main" id="{2EB38589-90FF-6BA2-1C63-668351D0E667}"/>
                </a:ext>
              </a:extLst>
            </p:cNvPr>
            <p:cNvPicPr>
              <a:picLocks noChangeAspect="1"/>
            </p:cNvPicPr>
            <p:nvPr/>
          </p:nvPicPr>
          <p:blipFill>
            <a:blip r:embed="rId35"/>
            <a:stretch>
              <a:fillRect/>
            </a:stretch>
          </p:blipFill>
          <p:spPr>
            <a:xfrm>
              <a:off x="1999417" y="3234864"/>
              <a:ext cx="1064605" cy="356032"/>
            </a:xfrm>
            <a:prstGeom prst="rect">
              <a:avLst/>
            </a:prstGeom>
          </p:spPr>
        </p:pic>
        <p:pic>
          <p:nvPicPr>
            <p:cNvPr id="14" name="Grafik 13">
              <a:extLst>
                <a:ext uri="{FF2B5EF4-FFF2-40B4-BE49-F238E27FC236}">
                  <a16:creationId xmlns:a16="http://schemas.microsoft.com/office/drawing/2014/main" id="{4D95A634-1974-49D4-2EC6-18E997A6AC9C}"/>
                </a:ext>
              </a:extLst>
            </p:cNvPr>
            <p:cNvPicPr>
              <a:picLocks noChangeAspect="1"/>
            </p:cNvPicPr>
            <p:nvPr/>
          </p:nvPicPr>
          <p:blipFill>
            <a:blip r:embed="rId36"/>
            <a:stretch>
              <a:fillRect/>
            </a:stretch>
          </p:blipFill>
          <p:spPr>
            <a:xfrm>
              <a:off x="10793885" y="3163555"/>
              <a:ext cx="635721" cy="498651"/>
            </a:xfrm>
            <a:prstGeom prst="rect">
              <a:avLst/>
            </a:prstGeom>
          </p:spPr>
        </p:pic>
        <p:pic>
          <p:nvPicPr>
            <p:cNvPr id="88" name="Grafik 87" descr="Ein Bild, das Logo enthält.&#10;&#10;Automatisch generierte Beschreibung">
              <a:extLst>
                <a:ext uri="{FF2B5EF4-FFF2-40B4-BE49-F238E27FC236}">
                  <a16:creationId xmlns:a16="http://schemas.microsoft.com/office/drawing/2014/main" id="{9F295224-E520-BA1A-F6E3-90B8FD403ECD}"/>
                </a:ext>
              </a:extLst>
            </p:cNvPr>
            <p:cNvPicPr>
              <a:picLocks noChangeAspect="1"/>
            </p:cNvPicPr>
            <p:nvPr/>
          </p:nvPicPr>
          <p:blipFill>
            <a:blip r:embed="rId37"/>
            <a:stretch>
              <a:fillRect/>
            </a:stretch>
          </p:blipFill>
          <p:spPr>
            <a:xfrm>
              <a:off x="4132593" y="2876802"/>
              <a:ext cx="1022383" cy="1072157"/>
            </a:xfrm>
            <a:prstGeom prst="rect">
              <a:avLst/>
            </a:prstGeom>
          </p:spPr>
        </p:pic>
        <p:pic>
          <p:nvPicPr>
            <p:cNvPr id="90" name="Grafik 89">
              <a:extLst>
                <a:ext uri="{FF2B5EF4-FFF2-40B4-BE49-F238E27FC236}">
                  <a16:creationId xmlns:a16="http://schemas.microsoft.com/office/drawing/2014/main" id="{4D6146D1-8335-D2A8-355A-67E6508F3CC6}"/>
                </a:ext>
              </a:extLst>
            </p:cNvPr>
            <p:cNvPicPr>
              <a:picLocks noChangeAspect="1"/>
            </p:cNvPicPr>
            <p:nvPr/>
          </p:nvPicPr>
          <p:blipFill>
            <a:blip r:embed="rId38"/>
            <a:stretch>
              <a:fillRect/>
            </a:stretch>
          </p:blipFill>
          <p:spPr>
            <a:xfrm>
              <a:off x="8514886" y="3266291"/>
              <a:ext cx="828374" cy="293178"/>
            </a:xfrm>
            <a:prstGeom prst="rect">
              <a:avLst/>
            </a:prstGeom>
          </p:spPr>
        </p:pic>
        <p:pic>
          <p:nvPicPr>
            <p:cNvPr id="92" name="Grafik 91" descr="Ein Bild, das Logo enthält.&#10;&#10;Automatisch generierte Beschreibung">
              <a:extLst>
                <a:ext uri="{FF2B5EF4-FFF2-40B4-BE49-F238E27FC236}">
                  <a16:creationId xmlns:a16="http://schemas.microsoft.com/office/drawing/2014/main" id="{A4F8999B-8CD2-5DB9-9727-34C63C223E63}"/>
                </a:ext>
              </a:extLst>
            </p:cNvPr>
            <p:cNvPicPr>
              <a:picLocks noChangeAspect="1"/>
            </p:cNvPicPr>
            <p:nvPr/>
          </p:nvPicPr>
          <p:blipFill>
            <a:blip r:embed="rId39"/>
            <a:stretch>
              <a:fillRect/>
            </a:stretch>
          </p:blipFill>
          <p:spPr>
            <a:xfrm>
              <a:off x="9351339" y="3147876"/>
              <a:ext cx="530008" cy="530008"/>
            </a:xfrm>
            <a:prstGeom prst="rect">
              <a:avLst/>
            </a:prstGeom>
          </p:spPr>
        </p:pic>
        <p:pic>
          <p:nvPicPr>
            <p:cNvPr id="98" name="Grafik 97" descr="Ein Bild, das Text, Geschirr enthält.&#10;&#10;Automatisch generierte Beschreibung">
              <a:extLst>
                <a:ext uri="{FF2B5EF4-FFF2-40B4-BE49-F238E27FC236}">
                  <a16:creationId xmlns:a16="http://schemas.microsoft.com/office/drawing/2014/main" id="{3DAA6EB6-9DF8-AA70-48A5-4AF6429057D3}"/>
                </a:ext>
              </a:extLst>
            </p:cNvPr>
            <p:cNvPicPr>
              <a:picLocks noChangeAspect="1"/>
            </p:cNvPicPr>
            <p:nvPr/>
          </p:nvPicPr>
          <p:blipFill>
            <a:blip r:embed="rId40"/>
            <a:stretch>
              <a:fillRect/>
            </a:stretch>
          </p:blipFill>
          <p:spPr>
            <a:xfrm>
              <a:off x="9889426" y="3205111"/>
              <a:ext cx="896375" cy="415538"/>
            </a:xfrm>
            <a:prstGeom prst="rect">
              <a:avLst/>
            </a:prstGeom>
          </p:spPr>
        </p:pic>
      </p:grpSp>
      <p:grpSp>
        <p:nvGrpSpPr>
          <p:cNvPr id="100" name="Gruppieren 99">
            <a:extLst>
              <a:ext uri="{FF2B5EF4-FFF2-40B4-BE49-F238E27FC236}">
                <a16:creationId xmlns:a16="http://schemas.microsoft.com/office/drawing/2014/main" id="{F0434C64-6450-D3EA-96EC-1B82BFBE3277}"/>
              </a:ext>
            </a:extLst>
          </p:cNvPr>
          <p:cNvGrpSpPr/>
          <p:nvPr/>
        </p:nvGrpSpPr>
        <p:grpSpPr>
          <a:xfrm>
            <a:off x="321762" y="1730901"/>
            <a:ext cx="11128567" cy="784516"/>
            <a:chOff x="321762" y="1730901"/>
            <a:chExt cx="11128567" cy="784516"/>
          </a:xfrm>
        </p:grpSpPr>
        <p:pic>
          <p:nvPicPr>
            <p:cNvPr id="77" name="Grafik 76">
              <a:extLst>
                <a:ext uri="{FF2B5EF4-FFF2-40B4-BE49-F238E27FC236}">
                  <a16:creationId xmlns:a16="http://schemas.microsoft.com/office/drawing/2014/main" id="{DC7149A7-4494-8768-889A-B88F9C91E0B0}"/>
                </a:ext>
              </a:extLst>
            </p:cNvPr>
            <p:cNvPicPr>
              <a:picLocks noChangeAspect="1"/>
            </p:cNvPicPr>
            <p:nvPr/>
          </p:nvPicPr>
          <p:blipFill>
            <a:blip r:embed="rId41"/>
            <a:stretch>
              <a:fillRect/>
            </a:stretch>
          </p:blipFill>
          <p:spPr>
            <a:xfrm>
              <a:off x="9990255" y="1906627"/>
              <a:ext cx="1460074" cy="433064"/>
            </a:xfrm>
            <a:prstGeom prst="rect">
              <a:avLst/>
            </a:prstGeom>
          </p:spPr>
        </p:pic>
        <p:pic>
          <p:nvPicPr>
            <p:cNvPr id="75" name="Picture 26">
              <a:extLst>
                <a:ext uri="{FF2B5EF4-FFF2-40B4-BE49-F238E27FC236}">
                  <a16:creationId xmlns:a16="http://schemas.microsoft.com/office/drawing/2014/main" id="{2F811515-F54E-66FE-970E-3A6E7624762A}"/>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7007627" y="1730901"/>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76" name="Grafik 75">
              <a:extLst>
                <a:ext uri="{FF2B5EF4-FFF2-40B4-BE49-F238E27FC236}">
                  <a16:creationId xmlns:a16="http://schemas.microsoft.com/office/drawing/2014/main" id="{D3C3E44C-4710-051B-29E6-78C5DBE805D3}"/>
                </a:ext>
              </a:extLst>
            </p:cNvPr>
            <p:cNvPicPr>
              <a:picLocks noChangeAspect="1"/>
            </p:cNvPicPr>
            <p:nvPr/>
          </p:nvPicPr>
          <p:blipFill>
            <a:blip r:embed="rId43"/>
            <a:stretch>
              <a:fillRect/>
            </a:stretch>
          </p:blipFill>
          <p:spPr>
            <a:xfrm>
              <a:off x="5696346" y="1990077"/>
              <a:ext cx="1220630" cy="266165"/>
            </a:xfrm>
            <a:prstGeom prst="rect">
              <a:avLst/>
            </a:prstGeom>
          </p:spPr>
        </p:pic>
        <p:pic>
          <p:nvPicPr>
            <p:cNvPr id="78" name="Grafik 77">
              <a:extLst>
                <a:ext uri="{FF2B5EF4-FFF2-40B4-BE49-F238E27FC236}">
                  <a16:creationId xmlns:a16="http://schemas.microsoft.com/office/drawing/2014/main" id="{83947B58-A368-0C48-DCBF-EEBAA8388B02}"/>
                </a:ext>
              </a:extLst>
            </p:cNvPr>
            <p:cNvPicPr>
              <a:picLocks noChangeAspect="1"/>
            </p:cNvPicPr>
            <p:nvPr/>
          </p:nvPicPr>
          <p:blipFill>
            <a:blip r:embed="rId44"/>
            <a:stretch>
              <a:fillRect/>
            </a:stretch>
          </p:blipFill>
          <p:spPr>
            <a:xfrm>
              <a:off x="7871585" y="1854266"/>
              <a:ext cx="897557" cy="537786"/>
            </a:xfrm>
            <a:prstGeom prst="rect">
              <a:avLst/>
            </a:prstGeom>
          </p:spPr>
        </p:pic>
        <p:pic>
          <p:nvPicPr>
            <p:cNvPr id="79" name="Grafik 78" descr="Ein Bild, das Text enthält.&#10;&#10;Automatisch generierte Beschreibung">
              <a:extLst>
                <a:ext uri="{FF2B5EF4-FFF2-40B4-BE49-F238E27FC236}">
                  <a16:creationId xmlns:a16="http://schemas.microsoft.com/office/drawing/2014/main" id="{9D324D47-7B2E-6C2D-1678-FD310F0EB05C}"/>
                </a:ext>
              </a:extLst>
            </p:cNvPr>
            <p:cNvPicPr>
              <a:picLocks noChangeAspect="1"/>
            </p:cNvPicPr>
            <p:nvPr/>
          </p:nvPicPr>
          <p:blipFill>
            <a:blip r:embed="rId45"/>
            <a:stretch>
              <a:fillRect/>
            </a:stretch>
          </p:blipFill>
          <p:spPr>
            <a:xfrm>
              <a:off x="8859793" y="1937726"/>
              <a:ext cx="1039811" cy="370866"/>
            </a:xfrm>
            <a:prstGeom prst="rect">
              <a:avLst/>
            </a:prstGeom>
          </p:spPr>
        </p:pic>
        <p:pic>
          <p:nvPicPr>
            <p:cNvPr id="80" name="Grafik 79" descr="Ein Bild, das Logo enthält.&#10;&#10;Automatisch generierte Beschreibung">
              <a:extLst>
                <a:ext uri="{FF2B5EF4-FFF2-40B4-BE49-F238E27FC236}">
                  <a16:creationId xmlns:a16="http://schemas.microsoft.com/office/drawing/2014/main" id="{3A2741D6-9FDB-2981-E940-A98BAB7C6A73}"/>
                </a:ext>
              </a:extLst>
            </p:cNvPr>
            <p:cNvPicPr>
              <a:picLocks noChangeAspect="1"/>
            </p:cNvPicPr>
            <p:nvPr/>
          </p:nvPicPr>
          <p:blipFill>
            <a:blip r:embed="rId46"/>
            <a:stretch>
              <a:fillRect/>
            </a:stretch>
          </p:blipFill>
          <p:spPr>
            <a:xfrm>
              <a:off x="3304903" y="1919781"/>
              <a:ext cx="1155014" cy="406757"/>
            </a:xfrm>
            <a:prstGeom prst="rect">
              <a:avLst/>
            </a:prstGeom>
          </p:spPr>
        </p:pic>
        <p:pic>
          <p:nvPicPr>
            <p:cNvPr id="82" name="Grafik 81">
              <a:extLst>
                <a:ext uri="{FF2B5EF4-FFF2-40B4-BE49-F238E27FC236}">
                  <a16:creationId xmlns:a16="http://schemas.microsoft.com/office/drawing/2014/main" id="{F8708246-26C6-7273-EC73-318841552446}"/>
                </a:ext>
              </a:extLst>
            </p:cNvPr>
            <p:cNvPicPr>
              <a:picLocks noChangeAspect="1"/>
            </p:cNvPicPr>
            <p:nvPr/>
          </p:nvPicPr>
          <p:blipFill>
            <a:blip r:embed="rId47"/>
            <a:stretch>
              <a:fillRect/>
            </a:stretch>
          </p:blipFill>
          <p:spPr>
            <a:xfrm>
              <a:off x="321762" y="1990693"/>
              <a:ext cx="876888" cy="264932"/>
            </a:xfrm>
            <a:prstGeom prst="rect">
              <a:avLst/>
            </a:prstGeom>
          </p:spPr>
        </p:pic>
        <p:pic>
          <p:nvPicPr>
            <p:cNvPr id="83" name="Grafik 82">
              <a:extLst>
                <a:ext uri="{FF2B5EF4-FFF2-40B4-BE49-F238E27FC236}">
                  <a16:creationId xmlns:a16="http://schemas.microsoft.com/office/drawing/2014/main" id="{463D7BB9-0BDA-6AD3-C7AA-57AB8D9FCB8F}"/>
                </a:ext>
              </a:extLst>
            </p:cNvPr>
            <p:cNvPicPr>
              <a:picLocks noChangeAspect="1"/>
            </p:cNvPicPr>
            <p:nvPr/>
          </p:nvPicPr>
          <p:blipFill>
            <a:blip r:embed="rId48"/>
            <a:stretch>
              <a:fillRect/>
            </a:stretch>
          </p:blipFill>
          <p:spPr>
            <a:xfrm>
              <a:off x="1289301" y="1744959"/>
              <a:ext cx="756400" cy="756400"/>
            </a:xfrm>
            <a:prstGeom prst="rect">
              <a:avLst/>
            </a:prstGeom>
          </p:spPr>
        </p:pic>
        <p:pic>
          <p:nvPicPr>
            <p:cNvPr id="84" name="Grafik 83" descr="Ein Bild, das Text enthält.&#10;&#10;Automatisch generierte Beschreibung">
              <a:extLst>
                <a:ext uri="{FF2B5EF4-FFF2-40B4-BE49-F238E27FC236}">
                  <a16:creationId xmlns:a16="http://schemas.microsoft.com/office/drawing/2014/main" id="{7BA569D8-F30D-6816-7446-A6E215C782FA}"/>
                </a:ext>
              </a:extLst>
            </p:cNvPr>
            <p:cNvPicPr>
              <a:picLocks noChangeAspect="1"/>
            </p:cNvPicPr>
            <p:nvPr/>
          </p:nvPicPr>
          <p:blipFill>
            <a:blip r:embed="rId49"/>
            <a:stretch>
              <a:fillRect/>
            </a:stretch>
          </p:blipFill>
          <p:spPr>
            <a:xfrm>
              <a:off x="2136352" y="1981071"/>
              <a:ext cx="1077900" cy="284176"/>
            </a:xfrm>
            <a:prstGeom prst="rect">
              <a:avLst/>
            </a:prstGeom>
          </p:spPr>
        </p:pic>
        <p:pic>
          <p:nvPicPr>
            <p:cNvPr id="33" name="Grafik 32" descr="Ein Bild, das Grafikdesign, Grafiken, Screenshot, Kunst enthält.&#10;&#10;Automatisch generierte Beschreibung">
              <a:extLst>
                <a:ext uri="{FF2B5EF4-FFF2-40B4-BE49-F238E27FC236}">
                  <a16:creationId xmlns:a16="http://schemas.microsoft.com/office/drawing/2014/main" id="{0AF539BE-08E6-3D52-0E4D-FAE3BAAB6871}"/>
                </a:ext>
              </a:extLst>
            </p:cNvPr>
            <p:cNvPicPr>
              <a:picLocks noChangeAspect="1"/>
            </p:cNvPicPr>
            <p:nvPr/>
          </p:nvPicPr>
          <p:blipFill>
            <a:blip r:embed="rId50"/>
            <a:stretch>
              <a:fillRect/>
            </a:stretch>
          </p:blipFill>
          <p:spPr>
            <a:xfrm>
              <a:off x="4550568" y="2052932"/>
              <a:ext cx="1055127" cy="140455"/>
            </a:xfrm>
            <a:prstGeom prst="rect">
              <a:avLst/>
            </a:prstGeom>
          </p:spPr>
        </p:pic>
      </p:grpSp>
      <p:grpSp>
        <p:nvGrpSpPr>
          <p:cNvPr id="94" name="Gruppieren 93">
            <a:extLst>
              <a:ext uri="{FF2B5EF4-FFF2-40B4-BE49-F238E27FC236}">
                <a16:creationId xmlns:a16="http://schemas.microsoft.com/office/drawing/2014/main" id="{606C0CC9-1908-86AE-DCC6-CB8DC172EAEE}"/>
              </a:ext>
            </a:extLst>
          </p:cNvPr>
          <p:cNvGrpSpPr/>
          <p:nvPr/>
        </p:nvGrpSpPr>
        <p:grpSpPr>
          <a:xfrm>
            <a:off x="292174" y="4007528"/>
            <a:ext cx="10948301" cy="1177379"/>
            <a:chOff x="292174" y="4007528"/>
            <a:chExt cx="10948301" cy="1177379"/>
          </a:xfrm>
        </p:grpSpPr>
        <p:pic>
          <p:nvPicPr>
            <p:cNvPr id="23" name="Grafik 22">
              <a:extLst>
                <a:ext uri="{FF2B5EF4-FFF2-40B4-BE49-F238E27FC236}">
                  <a16:creationId xmlns:a16="http://schemas.microsoft.com/office/drawing/2014/main" id="{6365DC47-A520-223E-8FF0-761CF62A0793}"/>
                </a:ext>
              </a:extLst>
            </p:cNvPr>
            <p:cNvPicPr>
              <a:picLocks noChangeAspect="1"/>
            </p:cNvPicPr>
            <p:nvPr/>
          </p:nvPicPr>
          <p:blipFill>
            <a:blip r:embed="rId51"/>
            <a:stretch>
              <a:fillRect/>
            </a:stretch>
          </p:blipFill>
          <p:spPr>
            <a:xfrm>
              <a:off x="292174" y="4406636"/>
              <a:ext cx="906476" cy="379163"/>
            </a:xfrm>
            <a:prstGeom prst="rect">
              <a:avLst/>
            </a:prstGeom>
          </p:spPr>
        </p:pic>
        <p:pic>
          <p:nvPicPr>
            <p:cNvPr id="45" name="Grafik 44">
              <a:extLst>
                <a:ext uri="{FF2B5EF4-FFF2-40B4-BE49-F238E27FC236}">
                  <a16:creationId xmlns:a16="http://schemas.microsoft.com/office/drawing/2014/main" id="{96DBE2B7-4846-AB29-8300-D3EB3AA003FE}"/>
                </a:ext>
              </a:extLst>
            </p:cNvPr>
            <p:cNvPicPr>
              <a:picLocks noChangeAspect="1"/>
            </p:cNvPicPr>
            <p:nvPr/>
          </p:nvPicPr>
          <p:blipFill>
            <a:blip r:embed="rId52"/>
            <a:stretch>
              <a:fillRect/>
            </a:stretch>
          </p:blipFill>
          <p:spPr>
            <a:xfrm>
              <a:off x="2695336" y="4245518"/>
              <a:ext cx="1246933" cy="701399"/>
            </a:xfrm>
            <a:prstGeom prst="rect">
              <a:avLst/>
            </a:prstGeom>
          </p:spPr>
        </p:pic>
        <p:pic>
          <p:nvPicPr>
            <p:cNvPr id="46" name="Grafik 45">
              <a:extLst>
                <a:ext uri="{FF2B5EF4-FFF2-40B4-BE49-F238E27FC236}">
                  <a16:creationId xmlns:a16="http://schemas.microsoft.com/office/drawing/2014/main" id="{7E008233-2D34-BFFA-E7F1-C9359A6BB1D3}"/>
                </a:ext>
              </a:extLst>
            </p:cNvPr>
            <p:cNvPicPr>
              <a:picLocks noChangeAspect="1"/>
            </p:cNvPicPr>
            <p:nvPr/>
          </p:nvPicPr>
          <p:blipFill>
            <a:blip r:embed="rId53"/>
            <a:stretch>
              <a:fillRect/>
            </a:stretch>
          </p:blipFill>
          <p:spPr>
            <a:xfrm>
              <a:off x="7269082" y="4284599"/>
              <a:ext cx="623237" cy="623237"/>
            </a:xfrm>
            <a:prstGeom prst="rect">
              <a:avLst/>
            </a:prstGeom>
          </p:spPr>
        </p:pic>
        <p:pic>
          <p:nvPicPr>
            <p:cNvPr id="49" name="Grafik 48" descr="Ein Bild, das Text enthält.&#10;&#10;Automatisch generierte Beschreibung">
              <a:extLst>
                <a:ext uri="{FF2B5EF4-FFF2-40B4-BE49-F238E27FC236}">
                  <a16:creationId xmlns:a16="http://schemas.microsoft.com/office/drawing/2014/main" id="{B112CDF4-FB60-CAAE-A132-0BE45E32EE58}"/>
                </a:ext>
              </a:extLst>
            </p:cNvPr>
            <p:cNvPicPr>
              <a:picLocks noChangeAspect="1"/>
            </p:cNvPicPr>
            <p:nvPr/>
          </p:nvPicPr>
          <p:blipFill>
            <a:blip r:embed="rId54"/>
            <a:stretch>
              <a:fillRect/>
            </a:stretch>
          </p:blipFill>
          <p:spPr>
            <a:xfrm>
              <a:off x="1284023" y="4366037"/>
              <a:ext cx="1325940" cy="460361"/>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39649E-1641-F98D-5BE1-AB6CC68F4ED3}"/>
                </a:ext>
              </a:extLst>
            </p:cNvPr>
            <p:cNvPicPr>
              <a:picLocks noChangeAspect="1"/>
            </p:cNvPicPr>
            <p:nvPr/>
          </p:nvPicPr>
          <p:blipFill>
            <a:blip r:embed="rId55"/>
            <a:stretch>
              <a:fillRect/>
            </a:stretch>
          </p:blipFill>
          <p:spPr>
            <a:xfrm>
              <a:off x="4027642" y="4007528"/>
              <a:ext cx="1177379" cy="1177379"/>
            </a:xfrm>
            <a:prstGeom prst="rect">
              <a:avLst/>
            </a:prstGeom>
          </p:spPr>
        </p:pic>
        <p:pic>
          <p:nvPicPr>
            <p:cNvPr id="51" name="Grafik 50" descr="Ein Bild, das Text enthält.&#10;&#10;Automatisch generierte Beschreibung">
              <a:extLst>
                <a:ext uri="{FF2B5EF4-FFF2-40B4-BE49-F238E27FC236}">
                  <a16:creationId xmlns:a16="http://schemas.microsoft.com/office/drawing/2014/main" id="{55346761-6E85-3B7D-D6B7-EF5C34542DD6}"/>
                </a:ext>
              </a:extLst>
            </p:cNvPr>
            <p:cNvPicPr>
              <a:picLocks noChangeAspect="1"/>
            </p:cNvPicPr>
            <p:nvPr/>
          </p:nvPicPr>
          <p:blipFill>
            <a:blip r:embed="rId56"/>
            <a:stretch>
              <a:fillRect/>
            </a:stretch>
          </p:blipFill>
          <p:spPr>
            <a:xfrm>
              <a:off x="5290394" y="4424992"/>
              <a:ext cx="933308" cy="342451"/>
            </a:xfrm>
            <a:prstGeom prst="rect">
              <a:avLst/>
            </a:prstGeom>
          </p:spPr>
        </p:pic>
        <p:pic>
          <p:nvPicPr>
            <p:cNvPr id="52" name="Grafik 51" descr="Ein Bild, das Text, Monitor enthält.&#10;&#10;Automatisch generierte Beschreibung">
              <a:extLst>
                <a:ext uri="{FF2B5EF4-FFF2-40B4-BE49-F238E27FC236}">
                  <a16:creationId xmlns:a16="http://schemas.microsoft.com/office/drawing/2014/main" id="{C771AAE4-8737-974F-EF72-2766A24ABB7B}"/>
                </a:ext>
              </a:extLst>
            </p:cNvPr>
            <p:cNvPicPr>
              <a:picLocks noChangeAspect="1"/>
            </p:cNvPicPr>
            <p:nvPr/>
          </p:nvPicPr>
          <p:blipFill>
            <a:blip r:embed="rId57"/>
            <a:stretch>
              <a:fillRect/>
            </a:stretch>
          </p:blipFill>
          <p:spPr>
            <a:xfrm>
              <a:off x="10226596" y="4520621"/>
              <a:ext cx="1013879" cy="151192"/>
            </a:xfrm>
            <a:prstGeom prst="rect">
              <a:avLst/>
            </a:prstGeom>
          </p:spPr>
        </p:pic>
        <p:pic>
          <p:nvPicPr>
            <p:cNvPr id="53" name="Grafik 52" descr="Ein Bild, das Logo enthält.&#10;&#10;Automatisch generierte Beschreibung">
              <a:extLst>
                <a:ext uri="{FF2B5EF4-FFF2-40B4-BE49-F238E27FC236}">
                  <a16:creationId xmlns:a16="http://schemas.microsoft.com/office/drawing/2014/main" id="{23BD237D-C310-9991-2960-60C5831350CF}"/>
                </a:ext>
              </a:extLst>
            </p:cNvPr>
            <p:cNvPicPr>
              <a:picLocks noChangeAspect="1"/>
            </p:cNvPicPr>
            <p:nvPr/>
          </p:nvPicPr>
          <p:blipFill>
            <a:blip r:embed="rId58"/>
            <a:stretch>
              <a:fillRect/>
            </a:stretch>
          </p:blipFill>
          <p:spPr>
            <a:xfrm>
              <a:off x="6309075" y="4158900"/>
              <a:ext cx="874634" cy="874634"/>
            </a:xfrm>
            <a:prstGeom prst="rect">
              <a:avLst/>
            </a:prstGeom>
          </p:spPr>
        </p:pic>
        <p:pic>
          <p:nvPicPr>
            <p:cNvPr id="89" name="Grafik 88">
              <a:extLst>
                <a:ext uri="{FF2B5EF4-FFF2-40B4-BE49-F238E27FC236}">
                  <a16:creationId xmlns:a16="http://schemas.microsoft.com/office/drawing/2014/main" id="{AD1DE613-92AB-19D2-D19B-C1C73795F94C}"/>
                </a:ext>
              </a:extLst>
            </p:cNvPr>
            <p:cNvPicPr>
              <a:picLocks noChangeAspect="1"/>
            </p:cNvPicPr>
            <p:nvPr/>
          </p:nvPicPr>
          <p:blipFill>
            <a:blip r:embed="rId59"/>
            <a:stretch>
              <a:fillRect/>
            </a:stretch>
          </p:blipFill>
          <p:spPr>
            <a:xfrm>
              <a:off x="9211169" y="4203959"/>
              <a:ext cx="784516" cy="784516"/>
            </a:xfrm>
            <a:prstGeom prst="rect">
              <a:avLst/>
            </a:prstGeom>
          </p:spPr>
        </p:pic>
        <p:pic>
          <p:nvPicPr>
            <p:cNvPr id="18" name="Grafik 17" descr="Ein Bild, das Grafiken, Schrift, Electric Blue (Farbe), Grafikdesign enthält.&#10;&#10;Automatisch generierte Beschreibung">
              <a:extLst>
                <a:ext uri="{FF2B5EF4-FFF2-40B4-BE49-F238E27FC236}">
                  <a16:creationId xmlns:a16="http://schemas.microsoft.com/office/drawing/2014/main" id="{C6D49138-F018-AF0B-4141-C99477C2C669}"/>
                </a:ext>
              </a:extLst>
            </p:cNvPr>
            <p:cNvPicPr>
              <a:picLocks noChangeAspect="1"/>
            </p:cNvPicPr>
            <p:nvPr/>
          </p:nvPicPr>
          <p:blipFill>
            <a:blip r:embed="rId60"/>
            <a:stretch>
              <a:fillRect/>
            </a:stretch>
          </p:blipFill>
          <p:spPr>
            <a:xfrm>
              <a:off x="8053103" y="4484919"/>
              <a:ext cx="985665" cy="222596"/>
            </a:xfrm>
            <a:prstGeom prst="rect">
              <a:avLst/>
            </a:prstGeom>
          </p:spPr>
        </p:pic>
      </p:grpSp>
      <p:grpSp>
        <p:nvGrpSpPr>
          <p:cNvPr id="74" name="Gruppieren 73">
            <a:extLst>
              <a:ext uri="{FF2B5EF4-FFF2-40B4-BE49-F238E27FC236}">
                <a16:creationId xmlns:a16="http://schemas.microsoft.com/office/drawing/2014/main" id="{91A4351A-90D1-52EF-D976-F9940AEC1338}"/>
              </a:ext>
            </a:extLst>
          </p:cNvPr>
          <p:cNvGrpSpPr/>
          <p:nvPr/>
        </p:nvGrpSpPr>
        <p:grpSpPr>
          <a:xfrm>
            <a:off x="85657" y="2328191"/>
            <a:ext cx="11205027" cy="744839"/>
            <a:chOff x="85657" y="2328191"/>
            <a:chExt cx="11205027" cy="744839"/>
          </a:xfrm>
        </p:grpSpPr>
        <p:pic>
          <p:nvPicPr>
            <p:cNvPr id="81" name="Grafik 80" descr="Ein Bild, das Logo enthält.&#10;&#10;Automatisch generierte Beschreibung">
              <a:extLst>
                <a:ext uri="{FF2B5EF4-FFF2-40B4-BE49-F238E27FC236}">
                  <a16:creationId xmlns:a16="http://schemas.microsoft.com/office/drawing/2014/main" id="{1926719B-146C-D9BA-FD2C-8E22EA5F54B0}"/>
                </a:ext>
              </a:extLst>
            </p:cNvPr>
            <p:cNvPicPr>
              <a:picLocks noChangeAspect="1"/>
            </p:cNvPicPr>
            <p:nvPr/>
          </p:nvPicPr>
          <p:blipFill>
            <a:blip r:embed="rId61"/>
            <a:stretch>
              <a:fillRect/>
            </a:stretch>
          </p:blipFill>
          <p:spPr>
            <a:xfrm>
              <a:off x="85657" y="2328191"/>
              <a:ext cx="1127007" cy="744839"/>
            </a:xfrm>
            <a:prstGeom prst="rect">
              <a:avLst/>
            </a:prstGeom>
          </p:spPr>
        </p:pic>
        <p:pic>
          <p:nvPicPr>
            <p:cNvPr id="65" name="Grafik 64" descr="Ein Bild, das Text enthält.&#10;&#10;Automatisch generierte Beschreibung">
              <a:extLst>
                <a:ext uri="{FF2B5EF4-FFF2-40B4-BE49-F238E27FC236}">
                  <a16:creationId xmlns:a16="http://schemas.microsoft.com/office/drawing/2014/main" id="{46CB3DBD-BEDC-E9AC-FB55-C41BF9C8AF79}"/>
                </a:ext>
              </a:extLst>
            </p:cNvPr>
            <p:cNvPicPr>
              <a:picLocks noChangeAspect="1"/>
            </p:cNvPicPr>
            <p:nvPr/>
          </p:nvPicPr>
          <p:blipFill>
            <a:blip r:embed="rId62"/>
            <a:stretch>
              <a:fillRect/>
            </a:stretch>
          </p:blipFill>
          <p:spPr>
            <a:xfrm>
              <a:off x="3226639" y="2432993"/>
              <a:ext cx="1319994" cy="535234"/>
            </a:xfrm>
            <a:prstGeom prst="rect">
              <a:avLst/>
            </a:prstGeom>
          </p:spPr>
        </p:pic>
        <p:pic>
          <p:nvPicPr>
            <p:cNvPr id="66" name="Grafik 65">
              <a:extLst>
                <a:ext uri="{FF2B5EF4-FFF2-40B4-BE49-F238E27FC236}">
                  <a16:creationId xmlns:a16="http://schemas.microsoft.com/office/drawing/2014/main" id="{E85CF9EC-729B-699F-E2E8-EDA716098218}"/>
                </a:ext>
              </a:extLst>
            </p:cNvPr>
            <p:cNvPicPr>
              <a:picLocks noChangeAspect="1"/>
            </p:cNvPicPr>
            <p:nvPr/>
          </p:nvPicPr>
          <p:blipFill>
            <a:blip r:embed="rId63"/>
            <a:stretch>
              <a:fillRect/>
            </a:stretch>
          </p:blipFill>
          <p:spPr>
            <a:xfrm>
              <a:off x="1141863" y="2488142"/>
              <a:ext cx="1051991" cy="424936"/>
            </a:xfrm>
            <a:prstGeom prst="rect">
              <a:avLst/>
            </a:prstGeom>
          </p:spPr>
        </p:pic>
        <p:pic>
          <p:nvPicPr>
            <p:cNvPr id="67" name="Grafik 66">
              <a:extLst>
                <a:ext uri="{FF2B5EF4-FFF2-40B4-BE49-F238E27FC236}">
                  <a16:creationId xmlns:a16="http://schemas.microsoft.com/office/drawing/2014/main" id="{51E24BBA-6DDA-6644-6A5F-2852713153CC}"/>
                </a:ext>
              </a:extLst>
            </p:cNvPr>
            <p:cNvPicPr>
              <a:picLocks noChangeAspect="1"/>
            </p:cNvPicPr>
            <p:nvPr/>
          </p:nvPicPr>
          <p:blipFill>
            <a:blip r:embed="rId64"/>
            <a:stretch>
              <a:fillRect/>
            </a:stretch>
          </p:blipFill>
          <p:spPr>
            <a:xfrm>
              <a:off x="10654963" y="2645150"/>
              <a:ext cx="635721" cy="110921"/>
            </a:xfrm>
            <a:prstGeom prst="rect">
              <a:avLst/>
            </a:prstGeom>
          </p:spPr>
        </p:pic>
        <p:pic>
          <p:nvPicPr>
            <p:cNvPr id="68" name="Grafik 67">
              <a:extLst>
                <a:ext uri="{FF2B5EF4-FFF2-40B4-BE49-F238E27FC236}">
                  <a16:creationId xmlns:a16="http://schemas.microsoft.com/office/drawing/2014/main" id="{3E274A15-01D8-1CB8-A188-D874EC10230A}"/>
                </a:ext>
              </a:extLst>
            </p:cNvPr>
            <p:cNvPicPr>
              <a:picLocks noChangeAspect="1"/>
            </p:cNvPicPr>
            <p:nvPr/>
          </p:nvPicPr>
          <p:blipFill>
            <a:blip r:embed="rId65"/>
            <a:stretch>
              <a:fillRect/>
            </a:stretch>
          </p:blipFill>
          <p:spPr>
            <a:xfrm>
              <a:off x="2235191" y="2628904"/>
              <a:ext cx="950111" cy="143413"/>
            </a:xfrm>
            <a:prstGeom prst="rect">
              <a:avLst/>
            </a:prstGeom>
          </p:spPr>
        </p:pic>
        <p:pic>
          <p:nvPicPr>
            <p:cNvPr id="69" name="Grafik 68" descr="Ein Bild, das Text, Geschirr, Teller enthält.&#10;&#10;Automatisch generierte Beschreibung">
              <a:extLst>
                <a:ext uri="{FF2B5EF4-FFF2-40B4-BE49-F238E27FC236}">
                  <a16:creationId xmlns:a16="http://schemas.microsoft.com/office/drawing/2014/main" id="{C720F52C-6097-7BAA-A918-7F444F2E3650}"/>
                </a:ext>
              </a:extLst>
            </p:cNvPr>
            <p:cNvPicPr>
              <a:picLocks noChangeAspect="1"/>
            </p:cNvPicPr>
            <p:nvPr/>
          </p:nvPicPr>
          <p:blipFill>
            <a:blip r:embed="rId66"/>
            <a:stretch>
              <a:fillRect/>
            </a:stretch>
          </p:blipFill>
          <p:spPr>
            <a:xfrm>
              <a:off x="6346613" y="2495524"/>
              <a:ext cx="778562" cy="410173"/>
            </a:xfrm>
            <a:prstGeom prst="rect">
              <a:avLst/>
            </a:prstGeom>
          </p:spPr>
        </p:pic>
        <p:pic>
          <p:nvPicPr>
            <p:cNvPr id="70" name="Grafik 69">
              <a:extLst>
                <a:ext uri="{FF2B5EF4-FFF2-40B4-BE49-F238E27FC236}">
                  <a16:creationId xmlns:a16="http://schemas.microsoft.com/office/drawing/2014/main" id="{1F187780-0D4B-0B97-BD1B-F752B7F28463}"/>
                </a:ext>
              </a:extLst>
            </p:cNvPr>
            <p:cNvPicPr>
              <a:picLocks noChangeAspect="1"/>
            </p:cNvPicPr>
            <p:nvPr/>
          </p:nvPicPr>
          <p:blipFill>
            <a:blip r:embed="rId67"/>
            <a:stretch>
              <a:fillRect/>
            </a:stretch>
          </p:blipFill>
          <p:spPr>
            <a:xfrm>
              <a:off x="7166512" y="2330151"/>
              <a:ext cx="740918" cy="740918"/>
            </a:xfrm>
            <a:prstGeom prst="rect">
              <a:avLst/>
            </a:prstGeom>
          </p:spPr>
        </p:pic>
        <p:pic>
          <p:nvPicPr>
            <p:cNvPr id="71" name="Grafik 70">
              <a:extLst>
                <a:ext uri="{FF2B5EF4-FFF2-40B4-BE49-F238E27FC236}">
                  <a16:creationId xmlns:a16="http://schemas.microsoft.com/office/drawing/2014/main" id="{9282B1AB-24E5-4F43-476C-1AA566DA56FF}"/>
                </a:ext>
              </a:extLst>
            </p:cNvPr>
            <p:cNvPicPr>
              <a:picLocks noChangeAspect="1"/>
            </p:cNvPicPr>
            <p:nvPr/>
          </p:nvPicPr>
          <p:blipFill>
            <a:blip r:embed="rId68"/>
            <a:stretch>
              <a:fillRect/>
            </a:stretch>
          </p:blipFill>
          <p:spPr>
            <a:xfrm>
              <a:off x="5573166" y="2499509"/>
              <a:ext cx="619969" cy="402202"/>
            </a:xfrm>
            <a:prstGeom prst="rect">
              <a:avLst/>
            </a:prstGeom>
          </p:spPr>
        </p:pic>
        <p:pic>
          <p:nvPicPr>
            <p:cNvPr id="72" name="Grafik 71" descr="Ein Bild, das Logo enthält.&#10;&#10;Automatisch generierte Beschreibung">
              <a:extLst>
                <a:ext uri="{FF2B5EF4-FFF2-40B4-BE49-F238E27FC236}">
                  <a16:creationId xmlns:a16="http://schemas.microsoft.com/office/drawing/2014/main" id="{F95BD523-3590-C6BB-33A1-4B3712697AF0}"/>
                </a:ext>
              </a:extLst>
            </p:cNvPr>
            <p:cNvPicPr>
              <a:picLocks noChangeAspect="1"/>
            </p:cNvPicPr>
            <p:nvPr/>
          </p:nvPicPr>
          <p:blipFill>
            <a:blip r:embed="rId69"/>
            <a:stretch>
              <a:fillRect/>
            </a:stretch>
          </p:blipFill>
          <p:spPr>
            <a:xfrm>
              <a:off x="7836626" y="2488170"/>
              <a:ext cx="1214374" cy="424881"/>
            </a:xfrm>
            <a:prstGeom prst="rect">
              <a:avLst/>
            </a:prstGeom>
          </p:spPr>
        </p:pic>
        <p:pic>
          <p:nvPicPr>
            <p:cNvPr id="73" name="Grafik 72" descr="Ein Bild, das Logo enthält.&#10;&#10;Automatisch generierte Beschreibung">
              <a:extLst>
                <a:ext uri="{FF2B5EF4-FFF2-40B4-BE49-F238E27FC236}">
                  <a16:creationId xmlns:a16="http://schemas.microsoft.com/office/drawing/2014/main" id="{CCE13222-DC16-6585-CEA4-E8ECA42D92E8}"/>
                </a:ext>
              </a:extLst>
            </p:cNvPr>
            <p:cNvPicPr>
              <a:picLocks noChangeAspect="1"/>
            </p:cNvPicPr>
            <p:nvPr/>
          </p:nvPicPr>
          <p:blipFill>
            <a:blip r:embed="rId70"/>
            <a:stretch>
              <a:fillRect/>
            </a:stretch>
          </p:blipFill>
          <p:spPr>
            <a:xfrm>
              <a:off x="10188747" y="2488170"/>
              <a:ext cx="424880" cy="424880"/>
            </a:xfrm>
            <a:prstGeom prst="rect">
              <a:avLst/>
            </a:prstGeom>
          </p:spPr>
        </p:pic>
        <p:pic>
          <p:nvPicPr>
            <p:cNvPr id="86" name="Grafik 85" descr="Ein Bild, das Schrift, Text, Grafiken, Grafikdesign enthält.&#10;&#10;Automatisch generierte Beschreibung">
              <a:extLst>
                <a:ext uri="{FF2B5EF4-FFF2-40B4-BE49-F238E27FC236}">
                  <a16:creationId xmlns:a16="http://schemas.microsoft.com/office/drawing/2014/main" id="{1F83585A-2F41-FA4B-704D-BD79178C26A6}"/>
                </a:ext>
              </a:extLst>
            </p:cNvPr>
            <p:cNvPicPr>
              <a:picLocks noChangeAspect="1"/>
            </p:cNvPicPr>
            <p:nvPr/>
          </p:nvPicPr>
          <p:blipFill>
            <a:blip r:embed="rId71"/>
            <a:stretch>
              <a:fillRect/>
            </a:stretch>
          </p:blipFill>
          <p:spPr>
            <a:xfrm>
              <a:off x="9092337" y="2533306"/>
              <a:ext cx="1055073" cy="334609"/>
            </a:xfrm>
            <a:prstGeom prst="rect">
              <a:avLst/>
            </a:prstGeom>
          </p:spPr>
        </p:pic>
        <p:pic>
          <p:nvPicPr>
            <p:cNvPr id="47" name="Grafik 46" descr="Ein Bild, das Schrift, Grafiken, Logo, Grafikdesign enthält.&#10;&#10;Automatisch generierte Beschreibung">
              <a:extLst>
                <a:ext uri="{FF2B5EF4-FFF2-40B4-BE49-F238E27FC236}">
                  <a16:creationId xmlns:a16="http://schemas.microsoft.com/office/drawing/2014/main" id="{9D1BE7DE-1E6F-7320-6141-CFEB636D83A6}"/>
                </a:ext>
              </a:extLst>
            </p:cNvPr>
            <p:cNvPicPr>
              <a:picLocks noChangeAspect="1"/>
            </p:cNvPicPr>
            <p:nvPr/>
          </p:nvPicPr>
          <p:blipFill>
            <a:blip r:embed="rId72"/>
            <a:stretch>
              <a:fillRect/>
            </a:stretch>
          </p:blipFill>
          <p:spPr>
            <a:xfrm>
              <a:off x="4587970" y="2527922"/>
              <a:ext cx="831721" cy="345376"/>
            </a:xfrm>
            <a:prstGeom prst="rect">
              <a:avLst/>
            </a:prstGeom>
          </p:spPr>
        </p:pic>
      </p:grpSp>
      <p:grpSp>
        <p:nvGrpSpPr>
          <p:cNvPr id="96" name="Gruppieren 95">
            <a:extLst>
              <a:ext uri="{FF2B5EF4-FFF2-40B4-BE49-F238E27FC236}">
                <a16:creationId xmlns:a16="http://schemas.microsoft.com/office/drawing/2014/main" id="{1A58A0EA-2B96-7864-6F7B-A5D55D060C24}"/>
              </a:ext>
            </a:extLst>
          </p:cNvPr>
          <p:cNvGrpSpPr/>
          <p:nvPr/>
        </p:nvGrpSpPr>
        <p:grpSpPr>
          <a:xfrm>
            <a:off x="312375" y="5293118"/>
            <a:ext cx="11055796" cy="929276"/>
            <a:chOff x="312375" y="5293118"/>
            <a:chExt cx="11055796" cy="929276"/>
          </a:xfrm>
        </p:grpSpPr>
        <p:pic>
          <p:nvPicPr>
            <p:cNvPr id="34" name="Grafik 33">
              <a:extLst>
                <a:ext uri="{FF2B5EF4-FFF2-40B4-BE49-F238E27FC236}">
                  <a16:creationId xmlns:a16="http://schemas.microsoft.com/office/drawing/2014/main" id="{21642C93-168E-0BAB-8FAD-8BC2E9CF411C}"/>
                </a:ext>
              </a:extLst>
            </p:cNvPr>
            <p:cNvPicPr>
              <a:picLocks noChangeAspect="1"/>
            </p:cNvPicPr>
            <p:nvPr/>
          </p:nvPicPr>
          <p:blipFill>
            <a:blip r:embed="rId73"/>
            <a:stretch>
              <a:fillRect/>
            </a:stretch>
          </p:blipFill>
          <p:spPr>
            <a:xfrm>
              <a:off x="3802971" y="5293118"/>
              <a:ext cx="1652046" cy="929276"/>
            </a:xfrm>
            <a:prstGeom prst="rect">
              <a:avLst/>
            </a:prstGeom>
          </p:spPr>
        </p:pic>
        <p:pic>
          <p:nvPicPr>
            <p:cNvPr id="35" name="Picture 16">
              <a:extLst>
                <a:ext uri="{FF2B5EF4-FFF2-40B4-BE49-F238E27FC236}">
                  <a16:creationId xmlns:a16="http://schemas.microsoft.com/office/drawing/2014/main" id="{3D8B4A52-E3CD-FB04-6209-72F23C54513A}"/>
                </a:ext>
              </a:extLst>
            </p:cNvPr>
            <p:cNvPicPr>
              <a:picLocks noChangeAspect="1" noChangeArrowheads="1"/>
            </p:cNvPicPr>
            <p:nvPr/>
          </p:nvPicPr>
          <p:blipFill>
            <a:blip r:embed="rId74">
              <a:extLst>
                <a:ext uri="{28A0092B-C50C-407E-A947-70E740481C1C}">
                  <a14:useLocalDpi xmlns:a14="http://schemas.microsoft.com/office/drawing/2010/main" val="0"/>
                </a:ext>
              </a:extLst>
            </a:blip>
            <a:srcRect/>
            <a:stretch>
              <a:fillRect/>
            </a:stretch>
          </p:blipFill>
          <p:spPr bwMode="auto">
            <a:xfrm>
              <a:off x="8281565" y="5478553"/>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1">
              <a:extLst>
                <a:ext uri="{FF2B5EF4-FFF2-40B4-BE49-F238E27FC236}">
                  <a16:creationId xmlns:a16="http://schemas.microsoft.com/office/drawing/2014/main" id="{E79D09A5-1FD4-E8C0-AA12-9C809794526C}"/>
                </a:ext>
              </a:extLst>
            </p:cNvPr>
            <p:cNvPicPr>
              <a:picLocks noChangeAspect="1" noChangeArrowheads="1"/>
            </p:cNvPicPr>
            <p:nvPr/>
          </p:nvPicPr>
          <p:blipFill>
            <a:blip r:embed="rId75">
              <a:extLst>
                <a:ext uri="{28A0092B-C50C-407E-A947-70E740481C1C}">
                  <a14:useLocalDpi xmlns:a14="http://schemas.microsoft.com/office/drawing/2010/main" val="0"/>
                </a:ext>
              </a:extLst>
            </a:blip>
            <a:srcRect/>
            <a:stretch>
              <a:fillRect/>
            </a:stretch>
          </p:blipFill>
          <p:spPr bwMode="auto">
            <a:xfrm>
              <a:off x="3076122" y="5339646"/>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7" name="Grafik 36" descr="Ein Bild, das Text, Uhr, Messanzeige enthält.&#10;&#10;Automatisch generierte Beschreibung">
              <a:extLst>
                <a:ext uri="{FF2B5EF4-FFF2-40B4-BE49-F238E27FC236}">
                  <a16:creationId xmlns:a16="http://schemas.microsoft.com/office/drawing/2014/main" id="{4B3FE90F-5BD2-9159-C017-954EBBEA08C2}"/>
                </a:ext>
              </a:extLst>
            </p:cNvPr>
            <p:cNvPicPr>
              <a:picLocks noChangeAspect="1"/>
            </p:cNvPicPr>
            <p:nvPr/>
          </p:nvPicPr>
          <p:blipFill>
            <a:blip r:embed="rId76"/>
            <a:stretch>
              <a:fillRect/>
            </a:stretch>
          </p:blipFill>
          <p:spPr>
            <a:xfrm>
              <a:off x="1268731" y="5664019"/>
              <a:ext cx="766943" cy="187474"/>
            </a:xfrm>
            <a:prstGeom prst="rect">
              <a:avLst/>
            </a:prstGeom>
          </p:spPr>
        </p:pic>
        <p:pic>
          <p:nvPicPr>
            <p:cNvPr id="38" name="Grafik 37">
              <a:extLst>
                <a:ext uri="{FF2B5EF4-FFF2-40B4-BE49-F238E27FC236}">
                  <a16:creationId xmlns:a16="http://schemas.microsoft.com/office/drawing/2014/main" id="{8241A82D-9AE6-620F-A6E2-A747A77FAD26}"/>
                </a:ext>
              </a:extLst>
            </p:cNvPr>
            <p:cNvPicPr>
              <a:picLocks noChangeAspect="1"/>
            </p:cNvPicPr>
            <p:nvPr/>
          </p:nvPicPr>
          <p:blipFill>
            <a:blip r:embed="rId77"/>
            <a:stretch>
              <a:fillRect/>
            </a:stretch>
          </p:blipFill>
          <p:spPr>
            <a:xfrm>
              <a:off x="5096694" y="5542859"/>
              <a:ext cx="1305717" cy="429795"/>
            </a:xfrm>
            <a:prstGeom prst="rect">
              <a:avLst/>
            </a:prstGeom>
          </p:spPr>
        </p:pic>
        <p:pic>
          <p:nvPicPr>
            <p:cNvPr id="39" name="Grafik 38">
              <a:extLst>
                <a:ext uri="{FF2B5EF4-FFF2-40B4-BE49-F238E27FC236}">
                  <a16:creationId xmlns:a16="http://schemas.microsoft.com/office/drawing/2014/main" id="{C1BC2DB7-49C9-3252-6707-3DDD1EA1CCE6}"/>
                </a:ext>
              </a:extLst>
            </p:cNvPr>
            <p:cNvPicPr>
              <a:picLocks noChangeAspect="1"/>
            </p:cNvPicPr>
            <p:nvPr/>
          </p:nvPicPr>
          <p:blipFill>
            <a:blip r:embed="rId78"/>
            <a:stretch>
              <a:fillRect/>
            </a:stretch>
          </p:blipFill>
          <p:spPr>
            <a:xfrm>
              <a:off x="6484034" y="5620046"/>
              <a:ext cx="818905" cy="275421"/>
            </a:xfrm>
            <a:prstGeom prst="rect">
              <a:avLst/>
            </a:prstGeom>
          </p:spPr>
        </p:pic>
        <p:pic>
          <p:nvPicPr>
            <p:cNvPr id="40" name="Grafik 39">
              <a:extLst>
                <a:ext uri="{FF2B5EF4-FFF2-40B4-BE49-F238E27FC236}">
                  <a16:creationId xmlns:a16="http://schemas.microsoft.com/office/drawing/2014/main" id="{F08C800D-D10D-5C07-FAC0-0E6DE398AFC1}"/>
                </a:ext>
              </a:extLst>
            </p:cNvPr>
            <p:cNvPicPr>
              <a:picLocks noChangeAspect="1"/>
            </p:cNvPicPr>
            <p:nvPr/>
          </p:nvPicPr>
          <p:blipFill>
            <a:blip r:embed="rId79"/>
            <a:stretch>
              <a:fillRect/>
            </a:stretch>
          </p:blipFill>
          <p:spPr>
            <a:xfrm>
              <a:off x="9062140" y="5582233"/>
              <a:ext cx="689988" cy="351047"/>
            </a:xfrm>
            <a:prstGeom prst="rect">
              <a:avLst/>
            </a:prstGeom>
          </p:spPr>
        </p:pic>
        <p:pic>
          <p:nvPicPr>
            <p:cNvPr id="41" name="Grafik 40">
              <a:extLst>
                <a:ext uri="{FF2B5EF4-FFF2-40B4-BE49-F238E27FC236}">
                  <a16:creationId xmlns:a16="http://schemas.microsoft.com/office/drawing/2014/main" id="{85D52A20-D9BF-893F-3484-BA7E9FA5D4EA}"/>
                </a:ext>
              </a:extLst>
            </p:cNvPr>
            <p:cNvPicPr>
              <a:picLocks noChangeAspect="1"/>
            </p:cNvPicPr>
            <p:nvPr/>
          </p:nvPicPr>
          <p:blipFill>
            <a:blip r:embed="rId80"/>
            <a:stretch>
              <a:fillRect/>
            </a:stretch>
          </p:blipFill>
          <p:spPr>
            <a:xfrm>
              <a:off x="7332796" y="5534038"/>
              <a:ext cx="1203570" cy="447436"/>
            </a:xfrm>
            <a:prstGeom prst="rect">
              <a:avLst/>
            </a:prstGeom>
          </p:spPr>
        </p:pic>
        <p:pic>
          <p:nvPicPr>
            <p:cNvPr id="42" name="Grafik 41">
              <a:extLst>
                <a:ext uri="{FF2B5EF4-FFF2-40B4-BE49-F238E27FC236}">
                  <a16:creationId xmlns:a16="http://schemas.microsoft.com/office/drawing/2014/main" id="{06C0A8EC-4092-9598-40B6-768C6A0F4E0D}"/>
                </a:ext>
              </a:extLst>
            </p:cNvPr>
            <p:cNvPicPr>
              <a:picLocks noChangeAspect="1"/>
            </p:cNvPicPr>
            <p:nvPr/>
          </p:nvPicPr>
          <p:blipFill>
            <a:blip r:embed="rId81"/>
            <a:stretch>
              <a:fillRect/>
            </a:stretch>
          </p:blipFill>
          <p:spPr>
            <a:xfrm>
              <a:off x="312375" y="5632320"/>
              <a:ext cx="840229" cy="250872"/>
            </a:xfrm>
            <a:prstGeom prst="rect">
              <a:avLst/>
            </a:prstGeom>
          </p:spPr>
        </p:pic>
        <p:pic>
          <p:nvPicPr>
            <p:cNvPr id="43" name="Grafik 42">
              <a:extLst>
                <a:ext uri="{FF2B5EF4-FFF2-40B4-BE49-F238E27FC236}">
                  <a16:creationId xmlns:a16="http://schemas.microsoft.com/office/drawing/2014/main" id="{A623244A-9317-06EF-2497-6EB08536582A}"/>
                </a:ext>
              </a:extLst>
            </p:cNvPr>
            <p:cNvPicPr>
              <a:picLocks noChangeAspect="1"/>
            </p:cNvPicPr>
            <p:nvPr/>
          </p:nvPicPr>
          <p:blipFill>
            <a:blip r:embed="rId82"/>
            <a:stretch>
              <a:fillRect/>
            </a:stretch>
          </p:blipFill>
          <p:spPr>
            <a:xfrm>
              <a:off x="2022401" y="5529052"/>
              <a:ext cx="1153254" cy="457409"/>
            </a:xfrm>
            <a:prstGeom prst="rect">
              <a:avLst/>
            </a:prstGeom>
          </p:spPr>
        </p:pic>
        <p:pic>
          <p:nvPicPr>
            <p:cNvPr id="5" name="Grafik 4" descr="Ein Bild, das Text, Geschirr, Platte enthält.&#10;&#10;Automatisch generierte Beschreibung">
              <a:extLst>
                <a:ext uri="{FF2B5EF4-FFF2-40B4-BE49-F238E27FC236}">
                  <a16:creationId xmlns:a16="http://schemas.microsoft.com/office/drawing/2014/main" id="{D9B97E78-13FB-2084-37E3-86241D044C68}"/>
                </a:ext>
              </a:extLst>
            </p:cNvPr>
            <p:cNvPicPr>
              <a:picLocks noChangeAspect="1"/>
            </p:cNvPicPr>
            <p:nvPr/>
          </p:nvPicPr>
          <p:blipFill>
            <a:blip r:embed="rId83"/>
            <a:stretch>
              <a:fillRect/>
            </a:stretch>
          </p:blipFill>
          <p:spPr>
            <a:xfrm>
              <a:off x="10649012" y="5545288"/>
              <a:ext cx="719159" cy="424936"/>
            </a:xfrm>
            <a:prstGeom prst="rect">
              <a:avLst/>
            </a:prstGeom>
          </p:spPr>
        </p:pic>
        <p:pic>
          <p:nvPicPr>
            <p:cNvPr id="93" name="Grafik 92" descr="Ein Bild, das Grafiken, Schrift, Grafikdesign, Logo enthält.&#10;&#10;Automatisch generierte Beschreibung">
              <a:extLst>
                <a:ext uri="{FF2B5EF4-FFF2-40B4-BE49-F238E27FC236}">
                  <a16:creationId xmlns:a16="http://schemas.microsoft.com/office/drawing/2014/main" id="{0E1CA437-8488-4217-590A-C87DBAADD3F0}"/>
                </a:ext>
              </a:extLst>
            </p:cNvPr>
            <p:cNvPicPr>
              <a:picLocks noChangeAspect="1"/>
            </p:cNvPicPr>
            <p:nvPr/>
          </p:nvPicPr>
          <p:blipFill>
            <a:blip r:embed="rId84"/>
            <a:stretch>
              <a:fillRect/>
            </a:stretch>
          </p:blipFill>
          <p:spPr>
            <a:xfrm>
              <a:off x="9773359" y="5676160"/>
              <a:ext cx="897557" cy="163192"/>
            </a:xfrm>
            <a:prstGeom prst="rect">
              <a:avLst/>
            </a:prstGeom>
          </p:spPr>
        </p:pic>
      </p:grpSp>
    </p:spTree>
    <p:extLst>
      <p:ext uri="{BB962C8B-B14F-4D97-AF65-F5344CB8AC3E}">
        <p14:creationId xmlns:p14="http://schemas.microsoft.com/office/powerpoint/2010/main" val="1331663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1429729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5"/>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6"/>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7"/>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8"/>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9"/>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0"/>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1"/>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2"/>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3"/>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4"/>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5"/>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6"/>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7"/>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8"/>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19"/>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0"/>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1"/>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2"/>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3"/>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4"/>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5"/>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6"/>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7"/>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8"/>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29"/>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5755EA-BC14-4636-4CFB-DD33F1EC1DA5}"/>
              </a:ext>
            </a:extLst>
          </p:cNvPr>
          <p:cNvGraphicFramePr>
            <a:graphicFrameLocks noChangeAspect="1"/>
          </p:cNvGraphicFramePr>
          <p:nvPr>
            <p:custDataLst>
              <p:tags r:id="rId1"/>
            </p:custDataLst>
            <p:extLst>
              <p:ext uri="{D42A27DB-BD31-4B8C-83A1-F6EECF244321}">
                <p14:modId xmlns:p14="http://schemas.microsoft.com/office/powerpoint/2010/main" val="879652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think-cell data - do not delete" hidden="1">
                        <a:extLst>
                          <a:ext uri="{FF2B5EF4-FFF2-40B4-BE49-F238E27FC236}">
                            <a16:creationId xmlns:a16="http://schemas.microsoft.com/office/drawing/2014/main" id="{F05755EA-BC14-4636-4CFB-DD33F1EC1D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ED6EB8B-D65C-3BA4-F134-E6495C709A90}"/>
              </a:ext>
            </a:extLst>
          </p:cNvPr>
          <p:cNvSpPr>
            <a:spLocks noGrp="1"/>
          </p:cNvSpPr>
          <p:nvPr>
            <p:ph type="title"/>
          </p:nvPr>
        </p:nvSpPr>
        <p:spPr/>
        <p:txBody>
          <a:bodyPr vert="horz"/>
          <a:lstStyle/>
          <a:p>
            <a:r>
              <a:rPr lang="de-DE" dirty="0"/>
              <a:t>CAMARA - </a:t>
            </a:r>
            <a:r>
              <a:rPr lang="de-DE" dirty="0" err="1"/>
              <a:t>Collaboration</a:t>
            </a:r>
            <a:r>
              <a:rPr lang="de-DE" dirty="0"/>
              <a:t> </a:t>
            </a:r>
            <a:r>
              <a:rPr lang="de-DE" dirty="0" err="1"/>
              <a:t>with</a:t>
            </a:r>
            <a:br>
              <a:rPr lang="de-DE" dirty="0"/>
            </a:br>
            <a:r>
              <a:rPr lang="de-DE" dirty="0"/>
              <a:t>GSMA Open Gateway</a:t>
            </a:r>
          </a:p>
        </p:txBody>
      </p:sp>
      <p:pic>
        <p:nvPicPr>
          <p:cNvPr id="5" name="Grafik 4">
            <a:extLst>
              <a:ext uri="{FF2B5EF4-FFF2-40B4-BE49-F238E27FC236}">
                <a16:creationId xmlns:a16="http://schemas.microsoft.com/office/drawing/2014/main" id="{9A6BF7CC-BB5D-D0D6-0C68-94B00EA83962}"/>
              </a:ext>
            </a:extLst>
          </p:cNvPr>
          <p:cNvPicPr>
            <a:picLocks noChangeAspect="1"/>
          </p:cNvPicPr>
          <p:nvPr/>
        </p:nvPicPr>
        <p:blipFill>
          <a:blip r:embed="rId5"/>
          <a:stretch>
            <a:fillRect/>
          </a:stretch>
        </p:blipFill>
        <p:spPr>
          <a:xfrm>
            <a:off x="1831543" y="1737360"/>
            <a:ext cx="7858987" cy="4334426"/>
          </a:xfrm>
          <a:prstGeom prst="rect">
            <a:avLst/>
          </a:prstGeom>
        </p:spPr>
      </p:pic>
    </p:spTree>
    <p:extLst>
      <p:ext uri="{BB962C8B-B14F-4D97-AF65-F5344CB8AC3E}">
        <p14:creationId xmlns:p14="http://schemas.microsoft.com/office/powerpoint/2010/main" val="11958433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73873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1890346"/>
            <a:ext cx="10572815" cy="4124383"/>
          </a:xfrm>
        </p:spPr>
        <p:txBody>
          <a:bodyPr vert="horz" lIns="0" tIns="0" rIns="0" bIns="0" rtlCol="0" anchor="t">
            <a:noAutofit/>
          </a:bodyPr>
          <a:lstStyle/>
          <a:p>
            <a:pPr algn="ctr"/>
            <a:endParaRPr lang="en-US" sz="2400" dirty="0">
              <a:latin typeface="Montserrat SemiBold" panose="00000700000000000000" pitchFamily="2" charset="0"/>
            </a:endParaRPr>
          </a:p>
          <a:p>
            <a:pPr algn="ctr"/>
            <a:endParaRPr lang="en-US" sz="2400" dirty="0">
              <a:latin typeface="Montserrat SemiBold" panose="00000700000000000000" pitchFamily="2" charset="0"/>
            </a:endParaRPr>
          </a:p>
          <a:p>
            <a:pPr algn="ctr"/>
            <a:r>
              <a:rPr lang="en-US" sz="2400" dirty="0">
                <a:latin typeface="Montserrat SemiBold"/>
                <a:ea typeface="Open Sans"/>
                <a:cs typeface="Open Sans"/>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74985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endParaRPr lang="de-DE" dirty="0"/>
          </a:p>
        </p:txBody>
      </p:sp>
      <p:grpSp>
        <p:nvGrpSpPr>
          <p:cNvPr id="38" name="Gruppieren 37">
            <a:extLst>
              <a:ext uri="{FF2B5EF4-FFF2-40B4-BE49-F238E27FC236}">
                <a16:creationId xmlns:a16="http://schemas.microsoft.com/office/drawing/2014/main" id="{60F4A73B-CDCB-F1A2-2A6F-E654BC1ACEFC}"/>
              </a:ext>
            </a:extLst>
          </p:cNvPr>
          <p:cNvGrpSpPr/>
          <p:nvPr/>
        </p:nvGrpSpPr>
        <p:grpSpPr>
          <a:xfrm>
            <a:off x="7124420" y="1881449"/>
            <a:ext cx="1999338" cy="2932658"/>
            <a:chOff x="7170011" y="1743433"/>
            <a:chExt cx="1999338" cy="2932658"/>
          </a:xfrm>
        </p:grpSpPr>
        <p:sp>
          <p:nvSpPr>
            <p:cNvPr id="12" name="Rectangle: Rounded Corners 10">
              <a:extLst>
                <a:ext uri="{FF2B5EF4-FFF2-40B4-BE49-F238E27FC236}">
                  <a16:creationId xmlns:a16="http://schemas.microsoft.com/office/drawing/2014/main" id="{45E45698-43DF-6570-5E0F-761D74199BF8}"/>
                </a:ext>
              </a:extLst>
            </p:cNvPr>
            <p:cNvSpPr/>
            <p:nvPr/>
          </p:nvSpPr>
          <p:spPr>
            <a:xfrm>
              <a:off x="7277258" y="322907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Identity and Consent </a:t>
              </a:r>
              <a:r>
                <a:rPr lang="en-US" sz="1600" dirty="0" err="1">
                  <a:solidFill>
                    <a:srgbClr val="FFFFFF"/>
                  </a:solidFill>
                  <a:latin typeface="Montserrat SemiBold" panose="00000700000000000000" pitchFamily="2" charset="0"/>
                  <a:cs typeface="Arial" panose="020B0604020202020204" pitchFamily="34" charset="0"/>
                </a:rPr>
                <a:t>Mgmt</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13" name="TextBox 11">
              <a:extLst>
                <a:ext uri="{FF2B5EF4-FFF2-40B4-BE49-F238E27FC236}">
                  <a16:creationId xmlns:a16="http://schemas.microsoft.com/office/drawing/2014/main" id="{4DCBD1BB-4218-0CAD-6D74-CE1450106985}"/>
                </a:ext>
              </a:extLst>
            </p:cNvPr>
            <p:cNvSpPr txBox="1"/>
            <p:nvPr/>
          </p:nvSpPr>
          <p:spPr>
            <a:xfrm>
              <a:off x="7277258" y="384509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s solutions to capture, store and manage user consent</a:t>
              </a:r>
            </a:p>
          </p:txBody>
        </p:sp>
        <p:sp>
          <p:nvSpPr>
            <p:cNvPr id="16" name="Rectangle: Rounded Corners 17">
              <a:extLst>
                <a:ext uri="{FF2B5EF4-FFF2-40B4-BE49-F238E27FC236}">
                  <a16:creationId xmlns:a16="http://schemas.microsoft.com/office/drawing/2014/main" id="{34B33FF2-7C22-61F1-97AF-BAA2A65A59C8}"/>
                </a:ext>
              </a:extLst>
            </p:cNvPr>
            <p:cNvSpPr/>
            <p:nvPr/>
          </p:nvSpPr>
          <p:spPr>
            <a:xfrm>
              <a:off x="7277258" y="1743433"/>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Identifier</a:t>
              </a:r>
            </a:p>
          </p:txBody>
        </p:sp>
        <p:sp>
          <p:nvSpPr>
            <p:cNvPr id="23" name="TextBox 30">
              <a:extLst>
                <a:ext uri="{FF2B5EF4-FFF2-40B4-BE49-F238E27FC236}">
                  <a16:creationId xmlns:a16="http://schemas.microsoft.com/office/drawing/2014/main" id="{6E70D4FB-3C7D-B377-45FE-02979E0D3AD6}"/>
                </a:ext>
              </a:extLst>
            </p:cNvPr>
            <p:cNvSpPr txBox="1"/>
            <p:nvPr/>
          </p:nvSpPr>
          <p:spPr>
            <a:xfrm>
              <a:off x="7170011" y="2341583"/>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identity of the subscribers’ device</a:t>
              </a:r>
            </a:p>
          </p:txBody>
        </p:sp>
      </p:grpSp>
      <p:grpSp>
        <p:nvGrpSpPr>
          <p:cNvPr id="36" name="Gruppieren 35">
            <a:extLst>
              <a:ext uri="{FF2B5EF4-FFF2-40B4-BE49-F238E27FC236}">
                <a16:creationId xmlns:a16="http://schemas.microsoft.com/office/drawing/2014/main" id="{25583B95-FF95-AB0D-A90C-9EE8198BC159}"/>
              </a:ext>
            </a:extLst>
          </p:cNvPr>
          <p:cNvGrpSpPr/>
          <p:nvPr/>
        </p:nvGrpSpPr>
        <p:grpSpPr>
          <a:xfrm>
            <a:off x="2516184" y="1881449"/>
            <a:ext cx="2023776" cy="4464810"/>
            <a:chOff x="2482505" y="1743433"/>
            <a:chExt cx="2023776" cy="4464810"/>
          </a:xfrm>
        </p:grpSpPr>
        <p:sp>
          <p:nvSpPr>
            <p:cNvPr id="8" name="TextBox 8">
              <a:extLst>
                <a:ext uri="{FF2B5EF4-FFF2-40B4-BE49-F238E27FC236}">
                  <a16:creationId xmlns:a16="http://schemas.microsoft.com/office/drawing/2014/main" id="{0A953785-E519-78B6-ED8D-7943015B543B}"/>
                </a:ext>
              </a:extLst>
            </p:cNvPr>
            <p:cNvSpPr txBox="1"/>
            <p:nvPr/>
          </p:nvSpPr>
          <p:spPr>
            <a:xfrm>
              <a:off x="2482505" y="5377246"/>
              <a:ext cx="2023776" cy="830997"/>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Allows users to set mobile connection quality </a:t>
              </a:r>
            </a:p>
            <a:p>
              <a:r>
                <a:rPr lang="en-US" sz="1200" dirty="0">
                  <a:latin typeface="Montserrat Light" panose="00000400000000000000" pitchFamily="2" charset="0"/>
                </a:rPr>
                <a:t>and get notifications</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2601971" y="4750203"/>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Quality on Demand</a:t>
              </a:r>
            </a:p>
          </p:txBody>
        </p:sp>
        <p:sp>
          <p:nvSpPr>
            <p:cNvPr id="14" name="Rectangle: Rounded Corners 13">
              <a:extLst>
                <a:ext uri="{FF2B5EF4-FFF2-40B4-BE49-F238E27FC236}">
                  <a16:creationId xmlns:a16="http://schemas.microsoft.com/office/drawing/2014/main" id="{D0BD93B7-6F02-38FE-212E-B5265A99144C}"/>
                </a:ext>
              </a:extLst>
            </p:cNvPr>
            <p:cNvSpPr/>
            <p:nvPr/>
          </p:nvSpPr>
          <p:spPr>
            <a:xfrm>
              <a:off x="2601971" y="322907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Edge Cloud</a:t>
              </a:r>
            </a:p>
          </p:txBody>
        </p:sp>
        <p:sp>
          <p:nvSpPr>
            <p:cNvPr id="18" name="Rectangle: Rounded Corners 19">
              <a:extLst>
                <a:ext uri="{FF2B5EF4-FFF2-40B4-BE49-F238E27FC236}">
                  <a16:creationId xmlns:a16="http://schemas.microsoft.com/office/drawing/2014/main" id="{0485D834-CF74-83D2-FD8F-CEEAB6E45B49}"/>
                </a:ext>
              </a:extLst>
            </p:cNvPr>
            <p:cNvSpPr/>
            <p:nvPr/>
          </p:nvSpPr>
          <p:spPr>
            <a:xfrm>
              <a:off x="2601971" y="1743433"/>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Carrier Billing</a:t>
              </a:r>
            </a:p>
            <a:p>
              <a:pPr algn="ctr"/>
              <a:r>
                <a:rPr lang="en-US" sz="1600" dirty="0" err="1">
                  <a:solidFill>
                    <a:srgbClr val="FFFFFF"/>
                  </a:solidFill>
                  <a:latin typeface="Montserrat SemiBold" panose="00000700000000000000" pitchFamily="2" charset="0"/>
                  <a:cs typeface="Arial" panose="020B0604020202020204" pitchFamily="34" charset="0"/>
                </a:rPr>
                <a:t>CheckOut</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22" name="TextBox 29">
              <a:extLst>
                <a:ext uri="{FF2B5EF4-FFF2-40B4-BE49-F238E27FC236}">
                  <a16:creationId xmlns:a16="http://schemas.microsoft.com/office/drawing/2014/main" id="{35C06FC1-15AE-7C1B-742C-9C41D3B88954}"/>
                </a:ext>
              </a:extLst>
            </p:cNvPr>
            <p:cNvSpPr txBox="1"/>
            <p:nvPr/>
          </p:nvSpPr>
          <p:spPr>
            <a:xfrm>
              <a:off x="2510113" y="2341583"/>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urchase, pay, and follow up on fulfilment of products </a:t>
              </a:r>
            </a:p>
          </p:txBody>
        </p:sp>
        <p:sp>
          <p:nvSpPr>
            <p:cNvPr id="26" name="TextBox 33">
              <a:extLst>
                <a:ext uri="{FF2B5EF4-FFF2-40B4-BE49-F238E27FC236}">
                  <a16:creationId xmlns:a16="http://schemas.microsoft.com/office/drawing/2014/main" id="{E78C5FD0-2CE6-6D5F-9079-DD17612D3961}"/>
                </a:ext>
              </a:extLst>
            </p:cNvPr>
            <p:cNvSpPr txBox="1"/>
            <p:nvPr/>
          </p:nvSpPr>
          <p:spPr>
            <a:xfrm>
              <a:off x="2482505" y="3845094"/>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 and manage network and compute resources for an application</a:t>
              </a:r>
            </a:p>
          </p:txBody>
        </p:sp>
      </p:grpSp>
      <p:grpSp>
        <p:nvGrpSpPr>
          <p:cNvPr id="39" name="Gruppieren 38">
            <a:extLst>
              <a:ext uri="{FF2B5EF4-FFF2-40B4-BE49-F238E27FC236}">
                <a16:creationId xmlns:a16="http://schemas.microsoft.com/office/drawing/2014/main" id="{270B3F21-D87D-306F-4E11-EFFBD4549926}"/>
              </a:ext>
            </a:extLst>
          </p:cNvPr>
          <p:cNvGrpSpPr/>
          <p:nvPr/>
        </p:nvGrpSpPr>
        <p:grpSpPr>
          <a:xfrm>
            <a:off x="9416320" y="1881449"/>
            <a:ext cx="1784845" cy="2932658"/>
            <a:chOff x="9416320" y="1743433"/>
            <a:chExt cx="1784845" cy="2932658"/>
          </a:xfrm>
        </p:grpSpPr>
        <p:sp>
          <p:nvSpPr>
            <p:cNvPr id="15" name="Rectangle: Rounded Corners 15">
              <a:extLst>
                <a:ext uri="{FF2B5EF4-FFF2-40B4-BE49-F238E27FC236}">
                  <a16:creationId xmlns:a16="http://schemas.microsoft.com/office/drawing/2014/main" id="{6C81E43A-A42E-3537-BBC3-A51E34120375}"/>
                </a:ext>
              </a:extLst>
            </p:cNvPr>
            <p:cNvSpPr/>
            <p:nvPr/>
          </p:nvSpPr>
          <p:spPr>
            <a:xfrm>
              <a:off x="9416320" y="1743433"/>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a:t>
              </a:r>
            </a:p>
            <a:p>
              <a:pPr algn="ctr"/>
              <a:r>
                <a:rPr lang="en-US" sz="1600" dirty="0">
                  <a:solidFill>
                    <a:srgbClr val="FFFFFF"/>
                  </a:solidFill>
                  <a:latin typeface="Montserrat SemiBold" panose="00000700000000000000" pitchFamily="2" charset="0"/>
                  <a:cs typeface="Arial" panose="020B0604020202020204" pitchFamily="34" charset="0"/>
                </a:rPr>
                <a:t>Location</a:t>
              </a:r>
            </a:p>
          </p:txBody>
        </p:sp>
        <p:sp>
          <p:nvSpPr>
            <p:cNvPr id="24" name="TextBox 31">
              <a:extLst>
                <a:ext uri="{FF2B5EF4-FFF2-40B4-BE49-F238E27FC236}">
                  <a16:creationId xmlns:a16="http://schemas.microsoft.com/office/drawing/2014/main" id="{8297DF00-C5F8-AFC2-7F3E-B784CC682D6A}"/>
                </a:ext>
              </a:extLst>
            </p:cNvPr>
            <p:cNvSpPr txBox="1"/>
            <p:nvPr/>
          </p:nvSpPr>
          <p:spPr>
            <a:xfrm>
              <a:off x="9559966" y="2341583"/>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location of a device.</a:t>
              </a:r>
            </a:p>
          </p:txBody>
        </p:sp>
        <p:sp>
          <p:nvSpPr>
            <p:cNvPr id="28" name="Rectangle: Rounded Corners 10">
              <a:extLst>
                <a:ext uri="{FF2B5EF4-FFF2-40B4-BE49-F238E27FC236}">
                  <a16:creationId xmlns:a16="http://schemas.microsoft.com/office/drawing/2014/main" id="{3A006A04-C33B-3870-696B-9EA4B0611EDF}"/>
                </a:ext>
              </a:extLst>
            </p:cNvPr>
            <p:cNvSpPr/>
            <p:nvPr/>
          </p:nvSpPr>
          <p:spPr>
            <a:xfrm>
              <a:off x="9416320" y="322907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Number Verification</a:t>
              </a:r>
            </a:p>
          </p:txBody>
        </p:sp>
        <p:sp>
          <p:nvSpPr>
            <p:cNvPr id="29" name="TextBox 11">
              <a:extLst>
                <a:ext uri="{FF2B5EF4-FFF2-40B4-BE49-F238E27FC236}">
                  <a16:creationId xmlns:a16="http://schemas.microsoft.com/office/drawing/2014/main" id="{6129EC0F-909D-8899-A129-A565F0F10C69}"/>
                </a:ext>
              </a:extLst>
            </p:cNvPr>
            <p:cNvSpPr txBox="1"/>
            <p:nvPr/>
          </p:nvSpPr>
          <p:spPr>
            <a:xfrm>
              <a:off x="9416320" y="384509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a:t>
              </a:r>
            </a:p>
            <a:p>
              <a:pPr algn="ctr"/>
              <a:r>
                <a:rPr lang="en-US" sz="1200" dirty="0">
                  <a:latin typeface="Montserrat Light" panose="00000400000000000000" pitchFamily="2" charset="0"/>
                  <a:cs typeface="Arial" panose="020B0604020202020204" pitchFamily="34" charset="0"/>
                </a:rPr>
                <a:t>verify the phone number of the connected device</a:t>
              </a:r>
            </a:p>
          </p:txBody>
        </p:sp>
      </p:grpSp>
      <p:grpSp>
        <p:nvGrpSpPr>
          <p:cNvPr id="35" name="Gruppieren 34">
            <a:extLst>
              <a:ext uri="{FF2B5EF4-FFF2-40B4-BE49-F238E27FC236}">
                <a16:creationId xmlns:a16="http://schemas.microsoft.com/office/drawing/2014/main" id="{0D76DC81-0E40-FFE4-E5DA-819D3A896C33}"/>
              </a:ext>
            </a:extLst>
          </p:cNvPr>
          <p:cNvGrpSpPr/>
          <p:nvPr/>
        </p:nvGrpSpPr>
        <p:grpSpPr>
          <a:xfrm>
            <a:off x="122506" y="1842531"/>
            <a:ext cx="2101116" cy="4319062"/>
            <a:chOff x="122506" y="1704515"/>
            <a:chExt cx="2101116" cy="4319062"/>
          </a:xfrm>
        </p:grpSpPr>
        <p:sp>
          <p:nvSpPr>
            <p:cNvPr id="10" name="Rectangle: Rounded Corners 14">
              <a:extLst>
                <a:ext uri="{FF2B5EF4-FFF2-40B4-BE49-F238E27FC236}">
                  <a16:creationId xmlns:a16="http://schemas.microsoft.com/office/drawing/2014/main" id="{6AEF91AC-2D8D-6373-63B4-C12FA8C9C454}"/>
                </a:ext>
              </a:extLst>
            </p:cNvPr>
            <p:cNvSpPr/>
            <p:nvPr/>
          </p:nvSpPr>
          <p:spPr>
            <a:xfrm>
              <a:off x="280642" y="4750203"/>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238512" y="5377246"/>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To offer secure user authentication to service providers.</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280642" y="174681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Arial" panose="020B0604020202020204" pitchFamily="34" charset="0"/>
                </a:rPr>
                <a:t>Anonymised</a:t>
              </a:r>
              <a:r>
                <a:rPr lang="en-US" sz="1600" dirty="0">
                  <a:solidFill>
                    <a:srgbClr val="FFFFFF"/>
                  </a:solidFill>
                  <a:latin typeface="Montserrat SemiBold" panose="00000700000000000000" pitchFamily="2" charset="0"/>
                  <a:cs typeface="Arial" panose="020B0604020202020204" pitchFamily="34" charset="0"/>
                </a:rPr>
                <a:t> Subscriber ID</a:t>
              </a:r>
            </a:p>
          </p:txBody>
        </p:sp>
        <p:sp>
          <p:nvSpPr>
            <p:cNvPr id="19" name="Rectangle: Rounded Corners 20">
              <a:extLst>
                <a:ext uri="{FF2B5EF4-FFF2-40B4-BE49-F238E27FC236}">
                  <a16:creationId xmlns:a16="http://schemas.microsoft.com/office/drawing/2014/main" id="{CFA1CDE9-EEE8-135D-531C-EAC4CA999B8F}"/>
                </a:ext>
              </a:extLst>
            </p:cNvPr>
            <p:cNvSpPr/>
            <p:nvPr/>
          </p:nvSpPr>
          <p:spPr>
            <a:xfrm>
              <a:off x="280642" y="322907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Device Status</a:t>
              </a:r>
            </a:p>
          </p:txBody>
        </p:sp>
        <p:sp>
          <p:nvSpPr>
            <p:cNvPr id="21" name="TextBox 28">
              <a:extLst>
                <a:ext uri="{FF2B5EF4-FFF2-40B4-BE49-F238E27FC236}">
                  <a16:creationId xmlns:a16="http://schemas.microsoft.com/office/drawing/2014/main" id="{701DDB0A-4059-8256-CCFA-93B9239BC88C}"/>
                </a:ext>
              </a:extLst>
            </p:cNvPr>
            <p:cNvSpPr txBox="1"/>
            <p:nvPr/>
          </p:nvSpPr>
          <p:spPr>
            <a:xfrm>
              <a:off x="122506" y="2341583"/>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Identify a client device trying to access network services</a:t>
              </a:r>
            </a:p>
          </p:txBody>
        </p:sp>
        <p:sp>
          <p:nvSpPr>
            <p:cNvPr id="25" name="TextBox 32">
              <a:extLst>
                <a:ext uri="{FF2B5EF4-FFF2-40B4-BE49-F238E27FC236}">
                  <a16:creationId xmlns:a16="http://schemas.microsoft.com/office/drawing/2014/main" id="{DFE183D6-74BB-D456-824E-B879A9B2D4FE}"/>
                </a:ext>
              </a:extLst>
            </p:cNvPr>
            <p:cNvSpPr txBox="1"/>
            <p:nvPr/>
          </p:nvSpPr>
          <p:spPr>
            <a:xfrm>
              <a:off x="280642" y="384509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network  connection and roaming status of a device</a:t>
              </a:r>
            </a:p>
          </p:txBody>
        </p:sp>
        <p:sp>
          <p:nvSpPr>
            <p:cNvPr id="4" name="Rechteck 3">
              <a:extLst>
                <a:ext uri="{FF2B5EF4-FFF2-40B4-BE49-F238E27FC236}">
                  <a16:creationId xmlns:a16="http://schemas.microsoft.com/office/drawing/2014/main" id="{9D8C861F-3B77-5DEE-404C-E2AF47E212D8}"/>
                </a:ext>
              </a:extLst>
            </p:cNvPr>
            <p:cNvSpPr/>
            <p:nvPr/>
          </p:nvSpPr>
          <p:spPr>
            <a:xfrm>
              <a:off x="189773" y="1704515"/>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tangle: Rounded Corners 19">
              <a:extLst>
                <a:ext uri="{FF2B5EF4-FFF2-40B4-BE49-F238E27FC236}">
                  <a16:creationId xmlns:a16="http://schemas.microsoft.com/office/drawing/2014/main" id="{38AC8557-C54F-70C7-6086-B8EA0319897E}"/>
                </a:ext>
              </a:extLst>
            </p:cNvPr>
            <p:cNvSpPr/>
            <p:nvPr/>
          </p:nvSpPr>
          <p:spPr>
            <a:xfrm>
              <a:off x="280642" y="1743433"/>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Blockchain Public Address</a:t>
              </a:r>
            </a:p>
          </p:txBody>
        </p:sp>
        <p:sp>
          <p:nvSpPr>
            <p:cNvPr id="30" name="TextBox 29">
              <a:extLst>
                <a:ext uri="{FF2B5EF4-FFF2-40B4-BE49-F238E27FC236}">
                  <a16:creationId xmlns:a16="http://schemas.microsoft.com/office/drawing/2014/main" id="{38D399EE-9C2C-0432-3983-CF005C7C9FF0}"/>
                </a:ext>
              </a:extLst>
            </p:cNvPr>
            <p:cNvSpPr txBox="1"/>
            <p:nvPr/>
          </p:nvSpPr>
          <p:spPr>
            <a:xfrm>
              <a:off x="188784" y="2341583"/>
              <a:ext cx="1968560"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nage a blockchain public address associated to a phone number</a:t>
              </a:r>
            </a:p>
          </p:txBody>
        </p:sp>
      </p:grpSp>
      <p:grpSp>
        <p:nvGrpSpPr>
          <p:cNvPr id="37" name="Gruppieren 36">
            <a:extLst>
              <a:ext uri="{FF2B5EF4-FFF2-40B4-BE49-F238E27FC236}">
                <a16:creationId xmlns:a16="http://schemas.microsoft.com/office/drawing/2014/main" id="{8D432A09-A6D3-BFFE-46D3-A46B0EA0C629}"/>
              </a:ext>
            </a:extLst>
          </p:cNvPr>
          <p:cNvGrpSpPr/>
          <p:nvPr/>
        </p:nvGrpSpPr>
        <p:grpSpPr>
          <a:xfrm>
            <a:off x="4832521" y="1881449"/>
            <a:ext cx="1999338" cy="4280144"/>
            <a:chOff x="4849439" y="1743433"/>
            <a:chExt cx="1999338" cy="4280144"/>
          </a:xfrm>
        </p:grpSpPr>
        <p:sp>
          <p:nvSpPr>
            <p:cNvPr id="6" name="Rectangle: Rounded Corners 7">
              <a:extLst>
                <a:ext uri="{FF2B5EF4-FFF2-40B4-BE49-F238E27FC236}">
                  <a16:creationId xmlns:a16="http://schemas.microsoft.com/office/drawing/2014/main" id="{CE6EC7AC-C274-C712-D8C0-FDD436C12B8E}"/>
                </a:ext>
              </a:extLst>
            </p:cNvPr>
            <p:cNvSpPr/>
            <p:nvPr/>
          </p:nvSpPr>
          <p:spPr>
            <a:xfrm>
              <a:off x="4956686" y="4750203"/>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solidFill>
                    <a:srgbClr val="FFFFFF"/>
                  </a:solidFill>
                  <a:latin typeface="Montserrat SemiBold" panose="00000700000000000000" pitchFamily="2" charset="0"/>
                  <a:cs typeface="Arial"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4956686" y="5377246"/>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get information on SIM pairing changes</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4956686" y="3229075"/>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FFFFFF"/>
                  </a:solidFill>
                  <a:latin typeface="Montserrat SemiBold" panose="00000700000000000000" pitchFamily="2" charset="0"/>
                  <a:cs typeface="Arial" panose="020B0604020202020204" pitchFamily="34" charset="0"/>
                </a:rPr>
                <a:t>Home Devices </a:t>
              </a:r>
              <a:r>
                <a:rPr lang="en-US" sz="1600" dirty="0" err="1">
                  <a:solidFill>
                    <a:srgbClr val="FFFFFF"/>
                  </a:solidFill>
                  <a:latin typeface="Montserrat SemiBold" panose="00000700000000000000" pitchFamily="2" charset="0"/>
                  <a:cs typeface="Arial" panose="020B0604020202020204" pitchFamily="34" charset="0"/>
                </a:rPr>
                <a:t>QoD</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27" name="TextBox 35">
              <a:extLst>
                <a:ext uri="{FF2B5EF4-FFF2-40B4-BE49-F238E27FC236}">
                  <a16:creationId xmlns:a16="http://schemas.microsoft.com/office/drawing/2014/main" id="{4B3AD2FD-68A1-CBB8-2367-AD5A328A624D}"/>
                </a:ext>
              </a:extLst>
            </p:cNvPr>
            <p:cNvSpPr txBox="1"/>
            <p:nvPr/>
          </p:nvSpPr>
          <p:spPr>
            <a:xfrm>
              <a:off x="4914556" y="3845094"/>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quest prioritization of traffic on a specific device on the home network. </a:t>
              </a:r>
            </a:p>
          </p:txBody>
        </p:sp>
        <p:sp>
          <p:nvSpPr>
            <p:cNvPr id="31" name="Rectangle: Rounded Corners 17">
              <a:extLst>
                <a:ext uri="{FF2B5EF4-FFF2-40B4-BE49-F238E27FC236}">
                  <a16:creationId xmlns:a16="http://schemas.microsoft.com/office/drawing/2014/main" id="{75599883-A142-C2DA-D71D-CD2688BE7EB4}"/>
                </a:ext>
              </a:extLst>
            </p:cNvPr>
            <p:cNvSpPr/>
            <p:nvPr/>
          </p:nvSpPr>
          <p:spPr>
            <a:xfrm>
              <a:off x="4956686" y="1743433"/>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a:solidFill>
                    <a:srgbClr val="FFFFFF"/>
                  </a:solidFill>
                  <a:latin typeface="Montserrat SemiBold" panose="00000700000000000000" pitchFamily="2" charset="0"/>
                  <a:cs typeface="Arial" panose="020B0604020202020204" pitchFamily="34" charset="0"/>
                </a:rPr>
                <a:t>Common-alities</a:t>
              </a:r>
              <a:endParaRPr lang="en-US" sz="1600" dirty="0">
                <a:solidFill>
                  <a:srgbClr val="FFFFFF"/>
                </a:solidFill>
                <a:latin typeface="Montserrat SemiBold" panose="00000700000000000000" pitchFamily="2" charset="0"/>
                <a:cs typeface="Arial" panose="020B0604020202020204" pitchFamily="34" charset="0"/>
              </a:endParaRPr>
            </a:p>
          </p:txBody>
        </p:sp>
        <p:sp>
          <p:nvSpPr>
            <p:cNvPr id="32" name="TextBox 30">
              <a:extLst>
                <a:ext uri="{FF2B5EF4-FFF2-40B4-BE49-F238E27FC236}">
                  <a16:creationId xmlns:a16="http://schemas.microsoft.com/office/drawing/2014/main" id="{2195EE94-68F9-6F60-9E24-CA2616ACD82B}"/>
                </a:ext>
              </a:extLst>
            </p:cNvPr>
            <p:cNvSpPr txBox="1"/>
            <p:nvPr/>
          </p:nvSpPr>
          <p:spPr>
            <a:xfrm>
              <a:off x="4849439" y="2341583"/>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Guidelines and assets mandatory for all CAMARA Sub Projects</a:t>
              </a:r>
            </a:p>
          </p:txBody>
        </p:sp>
      </p:grpSp>
    </p:spTree>
    <p:extLst>
      <p:ext uri="{BB962C8B-B14F-4D97-AF65-F5344CB8AC3E}">
        <p14:creationId xmlns:p14="http://schemas.microsoft.com/office/powerpoint/2010/main" val="1414803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3782074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030344"/>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dditional APIs and roadmap sync across CSPs and Hyperscalers</a:t>
            </a:r>
          </a:p>
        </p:txBody>
      </p:sp>
      <p:sp>
        <p:nvSpPr>
          <p:cNvPr id="15" name="Rectangle 4">
            <a:extLst>
              <a:ext uri="{FF2B5EF4-FFF2-40B4-BE49-F238E27FC236}">
                <a16:creationId xmlns:a16="http://schemas.microsoft.com/office/drawing/2014/main" id="{499542B1-FC93-AFFE-D2C6-90657E1E1C95}"/>
              </a:ext>
            </a:extLst>
          </p:cNvPr>
          <p:cNvSpPr/>
          <p:nvPr/>
        </p:nvSpPr>
        <p:spPr>
          <a:xfrm>
            <a:off x="3256644" y="3097756"/>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Creation of Technical Steering Committee (TSC) and strengthening of project governance</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4165168"/>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PI lifecycle management consistency</a:t>
            </a:r>
          </a:p>
          <a:p>
            <a:r>
              <a:rPr lang="en-US" dirty="0">
                <a:latin typeface="Montserrat Light" panose="00000400000000000000" pitchFamily="2" charset="0"/>
                <a:ea typeface="Open Sans" panose="020B0606030504020204" pitchFamily="34" charset="0"/>
                <a:cs typeface="Open Sans"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5232580"/>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Ensuring federation through GSMA and OAM through TM Forum </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030344"/>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097756"/>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165168"/>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3</a:t>
            </a:r>
          </a:p>
        </p:txBody>
      </p:sp>
      <p:sp>
        <p:nvSpPr>
          <p:cNvPr id="21" name="Rectangle 12">
            <a:extLst>
              <a:ext uri="{FF2B5EF4-FFF2-40B4-BE49-F238E27FC236}">
                <a16:creationId xmlns:a16="http://schemas.microsoft.com/office/drawing/2014/main" id="{FD2F003C-1E08-39A5-4AF5-072A9BDF3219}"/>
              </a:ext>
            </a:extLst>
          </p:cNvPr>
          <p:cNvSpPr/>
          <p:nvPr/>
        </p:nvSpPr>
        <p:spPr>
          <a:xfrm>
            <a:off x="1161601" y="5232580"/>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4</a:t>
            </a:r>
          </a:p>
        </p:txBody>
      </p:sp>
    </p:spTree>
    <p:extLst>
      <p:ext uri="{BB962C8B-B14F-4D97-AF65-F5344CB8AC3E}">
        <p14:creationId xmlns:p14="http://schemas.microsoft.com/office/powerpoint/2010/main" val="32036423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257275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2147798"/>
            <a:ext cx="6737662" cy="4124383"/>
          </a:xfrm>
        </p:spPr>
        <p:txBody>
          <a:bodyPr/>
          <a:lstStyle/>
          <a:p>
            <a:r>
              <a:rPr lang="en-US" sz="1600" dirty="0"/>
              <a:t>Customers (enterprises and startups), aggregators, cloud operators, telco operators, and network equipment vendors are welcome to join CAMARA.  Participation is free, without any fees or obligation to work.</a:t>
            </a:r>
          </a:p>
          <a:p>
            <a:endParaRPr lang="en-US" sz="1600" dirty="0"/>
          </a:p>
          <a:p>
            <a:r>
              <a:rPr lang="en-US" sz="1600" dirty="0"/>
              <a:t>If you are interested in joining CAMARA, please subscribe to </a:t>
            </a:r>
            <a:r>
              <a:rPr lang="en-US" sz="1600" dirty="0">
                <a:hlinkClick r:id="rId5"/>
              </a:rPr>
              <a:t>all+subscribe@lists.camaraproject.org</a:t>
            </a:r>
            <a:r>
              <a:rPr lang="en-US" sz="1600" dirty="0"/>
              <a:t>.  You may unsubscribe from CAMARA and these communications at any time.</a:t>
            </a:r>
          </a:p>
          <a:p>
            <a:endParaRPr lang="en-US" sz="1600" dirty="0"/>
          </a:p>
          <a:p>
            <a:r>
              <a:rPr lang="en-US" sz="1600" dirty="0"/>
              <a:t>In case of further questions please don’t hesitate to use our contact page at </a:t>
            </a:r>
            <a:r>
              <a:rPr lang="en-US" sz="1600" dirty="0">
                <a:hlinkClick r:id="rId6"/>
              </a:rPr>
              <a:t>https://camaraproject.org/contact/</a:t>
            </a:r>
            <a:r>
              <a:rPr lang="en-US" sz="1600" dirty="0"/>
              <a:t>.</a:t>
            </a:r>
          </a:p>
          <a:p>
            <a:endParaRPr lang="de-DE" sz="16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7"/>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2"/>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41676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3790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5075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Wake up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5"/>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6"/>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7"/>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8"/>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9"/>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0"/>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15964320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172717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try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378515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de-DE" dirty="0" err="1"/>
              <a:t>Abstraction</a:t>
            </a:r>
            <a:r>
              <a:rPr lang="de-DE" dirty="0"/>
              <a:t> API </a:t>
            </a:r>
            <a:br>
              <a:rPr lang="de-DE" dirty="0"/>
            </a:br>
            <a:r>
              <a:rPr lang="de-DE" dirty="0"/>
              <a:t>Architecture</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Arial" panose="020B0604020202020204" pitchFamily="34" charset="0"/>
              <a:buChar char="•"/>
            </a:pPr>
            <a:r>
              <a:rPr lang="en-US" sz="1600" dirty="0"/>
              <a:t>To simplify telco complexity making APIs easy to consume for customers with no telco expertise (user-friendly APIs)</a:t>
            </a:r>
          </a:p>
          <a:p>
            <a:pPr marL="285750" indent="-285750">
              <a:buFont typeface="Arial" panose="020B0604020202020204" pitchFamily="34" charset="0"/>
              <a:buChar char="•"/>
            </a:pPr>
            <a:r>
              <a:rPr lang="en-US" sz="1600" dirty="0"/>
              <a:t>To satisfy data privacy and regulatory requirements</a:t>
            </a:r>
          </a:p>
          <a:p>
            <a:pPr marL="285750" indent="-285750">
              <a:buFont typeface="Arial"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5"/>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48347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DE4B512E-3CEF-FF8D-D0B7-D751DE50BD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bstraction</a:t>
            </a:r>
            <a:r>
              <a:rPr lang="de-DE" dirty="0"/>
              <a:t>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258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16791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vailability</a:t>
            </a:r>
            <a:br>
              <a:rPr lang="de-DE" dirty="0"/>
            </a:br>
            <a:r>
              <a:rPr lang="de-DE" dirty="0"/>
              <a:t>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Arial" panose="020B0604020202020204" pitchFamily="34" charset="0"/>
              <a:buChar char="•"/>
            </a:pPr>
            <a:r>
              <a:rPr lang="en-US" sz="2400" dirty="0"/>
              <a:t>To ensure seamless customer experience</a:t>
            </a:r>
          </a:p>
          <a:p>
            <a:pPr marL="342900" indent="-342900">
              <a:buFont typeface="Arial" panose="020B0604020202020204" pitchFamily="34" charset="0"/>
              <a:buChar char="•"/>
            </a:pPr>
            <a:r>
              <a:rPr lang="en-US" sz="2400" dirty="0"/>
              <a:t>To accelerate technology development and commercial adoption (minimize implementation effort)</a:t>
            </a:r>
          </a:p>
          <a:p>
            <a:pPr marL="342900" indent="-342900">
              <a:buFont typeface="Arial" panose="020B0604020202020204" pitchFamily="34" charset="0"/>
              <a:buChar char="•"/>
            </a:pPr>
            <a:r>
              <a:rPr lang="en-US" sz="2400" dirty="0"/>
              <a:t>To accelerate education and promotion</a:t>
            </a:r>
          </a:p>
          <a:p>
            <a:pPr marL="342900" indent="-342900">
              <a:buFont typeface="Arial"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384424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Mission</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5"/>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6"/>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7" ma:contentTypeDescription="Ein neues Dokument erstellen." ma:contentTypeScope="" ma:versionID="e182a991176a11e6fd39ea86269ab0ff">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12521eb311d5836c2c2d10f7da0fffb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B645B9-A9E2-4EDD-B6E0-BBB9E963FD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1503</Words>
  <Application>Microsoft Office PowerPoint</Application>
  <PresentationFormat>Benutzerdefiniert</PresentationFormat>
  <Paragraphs>209</Paragraphs>
  <Slides>23</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23</vt:i4>
      </vt:variant>
    </vt:vector>
  </HeadingPairs>
  <TitlesOfParts>
    <vt:vector size="33" baseType="lpstr">
      <vt:lpstr>FlexoSoft</vt:lpstr>
      <vt:lpstr>Montserrat SemiBold</vt:lpstr>
      <vt:lpstr>Montserrat Light</vt:lpstr>
      <vt:lpstr>Montserrat</vt:lpstr>
      <vt:lpstr>Wingdings 2</vt:lpstr>
      <vt:lpstr>Open Sans</vt:lpstr>
      <vt:lpstr>Calibri</vt:lpstr>
      <vt:lpstr>Arial</vt:lpstr>
      <vt:lpstr>Detecon_Master</vt:lpstr>
      <vt:lpstr>think-cell Folie</vt:lpstr>
      <vt:lpstr>PowerPoint-Präsentation</vt:lpstr>
      <vt:lpstr>APIs enabling seamless access to Telco network capabilitites</vt:lpstr>
      <vt:lpstr>5G network capabilities Introduction </vt:lpstr>
      <vt:lpstr>5G network capabilities Introduction</vt:lpstr>
      <vt:lpstr>What is the CAMARA Project? Key problems we try to solve</vt:lpstr>
      <vt:lpstr>Abstraction API  Architecture</vt:lpstr>
      <vt:lpstr>Abstraction API  Distribution Options</vt:lpstr>
      <vt:lpstr>Availability Benefit</vt:lpstr>
      <vt:lpstr>CAMARA Mission</vt:lpstr>
      <vt:lpstr>CAMARA Scope</vt:lpstr>
      <vt:lpstr>CAMARA Scope</vt:lpstr>
      <vt:lpstr>CAMARA Scope</vt:lpstr>
      <vt:lpstr>CAMARA Scope</vt:lpstr>
      <vt:lpstr>CAMARA Scope</vt:lpstr>
      <vt:lpstr>CAMARA Where we started…</vt:lpstr>
      <vt:lpstr>CAMARA … and where we are now</vt:lpstr>
      <vt:lpstr>CAMARA Logos </vt:lpstr>
      <vt:lpstr>CAMARA API Showcases</vt:lpstr>
      <vt:lpstr>CAMARA - Collaboration with GSMA Open Gateway</vt:lpstr>
      <vt:lpstr>Current CAMARA API Families</vt:lpstr>
      <vt:lpstr>CAMARA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6</cp:revision>
  <dcterms:created xsi:type="dcterms:W3CDTF">2023-03-22T16:25:12Z</dcterms:created>
  <dcterms:modified xsi:type="dcterms:W3CDTF">2023-08-26T14:5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